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3" r:id="rId1"/>
  </p:sldMasterIdLst>
  <p:notesMasterIdLst>
    <p:notesMasterId r:id="rId16"/>
  </p:notesMasterIdLst>
  <p:sldIdLst>
    <p:sldId id="256" r:id="rId2"/>
    <p:sldId id="259" r:id="rId3"/>
    <p:sldId id="257" r:id="rId4"/>
    <p:sldId id="260" r:id="rId5"/>
    <p:sldId id="263" r:id="rId6"/>
    <p:sldId id="265" r:id="rId7"/>
    <p:sldId id="264" r:id="rId8"/>
    <p:sldId id="266" r:id="rId9"/>
    <p:sldId id="267" r:id="rId10"/>
    <p:sldId id="268" r:id="rId11"/>
    <p:sldId id="269" r:id="rId12"/>
    <p:sldId id="262" r:id="rId13"/>
    <p:sldId id="258" r:id="rId14"/>
    <p:sldId id="270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DBACA"/>
    <a:srgbClr val="10948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810C06B-9863-F34C-A5FD-B2B2B81C9065}" v="563" dt="2023-12-04T12:14:11.84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6063" autoAdjust="0"/>
    <p:restoredTop sz="94652"/>
  </p:normalViewPr>
  <p:slideViewPr>
    <p:cSldViewPr snapToGrid="0">
      <p:cViewPr>
        <p:scale>
          <a:sx n="75" d="100"/>
          <a:sy n="75" d="100"/>
        </p:scale>
        <p:origin x="466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629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microsoft.com/office/2016/11/relationships/changesInfo" Target="changesInfos/changesInfo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ostafa Atef" userId="864e42d8-5503-4f03-a238-cc8376af15e5" providerId="ADAL" clId="{6810C06B-9863-F34C-A5FD-B2B2B81C9065}"/>
    <pc:docChg chg="undo custSel addSld delSld modSld sldOrd">
      <pc:chgData name="Mostafa Atef" userId="864e42d8-5503-4f03-a238-cc8376af15e5" providerId="ADAL" clId="{6810C06B-9863-F34C-A5FD-B2B2B81C9065}" dt="2023-12-04T12:18:41.209" v="1914" actId="14100"/>
      <pc:docMkLst>
        <pc:docMk/>
      </pc:docMkLst>
      <pc:sldChg chg="modSp mod">
        <pc:chgData name="Mostafa Atef" userId="864e42d8-5503-4f03-a238-cc8376af15e5" providerId="ADAL" clId="{6810C06B-9863-F34C-A5FD-B2B2B81C9065}" dt="2023-12-04T07:22:52.330" v="17" actId="20577"/>
        <pc:sldMkLst>
          <pc:docMk/>
          <pc:sldMk cId="2079177393" sldId="256"/>
        </pc:sldMkLst>
        <pc:spChg chg="mod">
          <ac:chgData name="Mostafa Atef" userId="864e42d8-5503-4f03-a238-cc8376af15e5" providerId="ADAL" clId="{6810C06B-9863-F34C-A5FD-B2B2B81C9065}" dt="2023-12-04T07:22:52.330" v="17" actId="20577"/>
          <ac:spMkLst>
            <pc:docMk/>
            <pc:sldMk cId="2079177393" sldId="256"/>
            <ac:spMk id="4" creationId="{71503FB4-374F-E0CE-A25D-A8415DD7C695}"/>
          </ac:spMkLst>
        </pc:spChg>
      </pc:sldChg>
      <pc:sldChg chg="modSp mod">
        <pc:chgData name="Mostafa Atef" userId="864e42d8-5503-4f03-a238-cc8376af15e5" providerId="ADAL" clId="{6810C06B-9863-F34C-A5FD-B2B2B81C9065}" dt="2023-12-04T11:07:59.637" v="1499" actId="20577"/>
        <pc:sldMkLst>
          <pc:docMk/>
          <pc:sldMk cId="471317422" sldId="257"/>
        </pc:sldMkLst>
        <pc:spChg chg="mod">
          <ac:chgData name="Mostafa Atef" userId="864e42d8-5503-4f03-a238-cc8376af15e5" providerId="ADAL" clId="{6810C06B-9863-F34C-A5FD-B2B2B81C9065}" dt="2023-12-04T11:07:59.637" v="1499" actId="20577"/>
          <ac:spMkLst>
            <pc:docMk/>
            <pc:sldMk cId="471317422" sldId="257"/>
            <ac:spMk id="2" creationId="{0CDFA209-B1DB-CAE4-AE3E-DF4EA9070255}"/>
          </ac:spMkLst>
        </pc:spChg>
        <pc:spChg chg="mod">
          <ac:chgData name="Mostafa Atef" userId="864e42d8-5503-4f03-a238-cc8376af15e5" providerId="ADAL" clId="{6810C06B-9863-F34C-A5FD-B2B2B81C9065}" dt="2023-12-04T07:44:47.432" v="218" actId="2710"/>
          <ac:spMkLst>
            <pc:docMk/>
            <pc:sldMk cId="471317422" sldId="257"/>
            <ac:spMk id="3" creationId="{697FAB36-77D7-B8D6-B4CD-326DEC3CAF25}"/>
          </ac:spMkLst>
        </pc:spChg>
      </pc:sldChg>
      <pc:sldChg chg="addSp delSp modSp mod">
        <pc:chgData name="Mostafa Atef" userId="864e42d8-5503-4f03-a238-cc8376af15e5" providerId="ADAL" clId="{6810C06B-9863-F34C-A5FD-B2B2B81C9065}" dt="2023-12-04T11:17:47.537" v="1617" actId="20577"/>
        <pc:sldMkLst>
          <pc:docMk/>
          <pc:sldMk cId="1295194305" sldId="258"/>
        </pc:sldMkLst>
        <pc:spChg chg="mod">
          <ac:chgData name="Mostafa Atef" userId="864e42d8-5503-4f03-a238-cc8376af15e5" providerId="ADAL" clId="{6810C06B-9863-F34C-A5FD-B2B2B81C9065}" dt="2023-12-04T11:17:47.537" v="1617" actId="20577"/>
          <ac:spMkLst>
            <pc:docMk/>
            <pc:sldMk cId="1295194305" sldId="258"/>
            <ac:spMk id="2" creationId="{12F882B7-E05F-8141-3935-FA0DB8DFE7E1}"/>
          </ac:spMkLst>
        </pc:spChg>
        <pc:spChg chg="del mod">
          <ac:chgData name="Mostafa Atef" userId="864e42d8-5503-4f03-a238-cc8376af15e5" providerId="ADAL" clId="{6810C06B-9863-F34C-A5FD-B2B2B81C9065}" dt="2023-12-04T08:22:44.535" v="995" actId="478"/>
          <ac:spMkLst>
            <pc:docMk/>
            <pc:sldMk cId="1295194305" sldId="258"/>
            <ac:spMk id="3" creationId="{E1B72675-076F-1F5B-753F-978768F4E798}"/>
          </ac:spMkLst>
        </pc:spChg>
        <pc:spChg chg="mod">
          <ac:chgData name="Mostafa Atef" userId="864e42d8-5503-4f03-a238-cc8376af15e5" providerId="ADAL" clId="{6810C06B-9863-F34C-A5FD-B2B2B81C9065}" dt="2023-12-04T08:20:16.481" v="966"/>
          <ac:spMkLst>
            <pc:docMk/>
            <pc:sldMk cId="1295194305" sldId="258"/>
            <ac:spMk id="5" creationId="{46D5DE8B-C77A-AC6B-2211-8A6B6AED3809}"/>
          </ac:spMkLst>
        </pc:spChg>
        <pc:spChg chg="mod">
          <ac:chgData name="Mostafa Atef" userId="864e42d8-5503-4f03-a238-cc8376af15e5" providerId="ADAL" clId="{6810C06B-9863-F34C-A5FD-B2B2B81C9065}" dt="2023-12-04T08:20:16.481" v="966"/>
          <ac:spMkLst>
            <pc:docMk/>
            <pc:sldMk cId="1295194305" sldId="258"/>
            <ac:spMk id="7" creationId="{109927A7-E85A-DFF8-8528-AC44137E286C}"/>
          </ac:spMkLst>
        </pc:spChg>
        <pc:spChg chg="mod">
          <ac:chgData name="Mostafa Atef" userId="864e42d8-5503-4f03-a238-cc8376af15e5" providerId="ADAL" clId="{6810C06B-9863-F34C-A5FD-B2B2B81C9065}" dt="2023-12-04T08:20:16.481" v="966"/>
          <ac:spMkLst>
            <pc:docMk/>
            <pc:sldMk cId="1295194305" sldId="258"/>
            <ac:spMk id="9" creationId="{2D233E5B-B2EC-9900-0AA0-E8D918BD9918}"/>
          </ac:spMkLst>
        </pc:spChg>
        <pc:spChg chg="mod">
          <ac:chgData name="Mostafa Atef" userId="864e42d8-5503-4f03-a238-cc8376af15e5" providerId="ADAL" clId="{6810C06B-9863-F34C-A5FD-B2B2B81C9065}" dt="2023-12-04T08:20:16.481" v="966"/>
          <ac:spMkLst>
            <pc:docMk/>
            <pc:sldMk cId="1295194305" sldId="258"/>
            <ac:spMk id="11" creationId="{03BC0FE0-1A7C-0CDA-19BA-895377A32DDF}"/>
          </ac:spMkLst>
        </pc:spChg>
        <pc:spChg chg="mod">
          <ac:chgData name="Mostafa Atef" userId="864e42d8-5503-4f03-a238-cc8376af15e5" providerId="ADAL" clId="{6810C06B-9863-F34C-A5FD-B2B2B81C9065}" dt="2023-12-04T08:20:49.888" v="971"/>
          <ac:spMkLst>
            <pc:docMk/>
            <pc:sldMk cId="1295194305" sldId="258"/>
            <ac:spMk id="13" creationId="{9C68E49A-DA57-A0EE-11AC-AFA791D9C704}"/>
          </ac:spMkLst>
        </pc:spChg>
        <pc:spChg chg="mod">
          <ac:chgData name="Mostafa Atef" userId="864e42d8-5503-4f03-a238-cc8376af15e5" providerId="ADAL" clId="{6810C06B-9863-F34C-A5FD-B2B2B81C9065}" dt="2023-12-04T08:20:49.888" v="971"/>
          <ac:spMkLst>
            <pc:docMk/>
            <pc:sldMk cId="1295194305" sldId="258"/>
            <ac:spMk id="15" creationId="{C4B96180-36A4-CFC5-B139-1F4265F363F0}"/>
          </ac:spMkLst>
        </pc:spChg>
        <pc:spChg chg="mod">
          <ac:chgData name="Mostafa Atef" userId="864e42d8-5503-4f03-a238-cc8376af15e5" providerId="ADAL" clId="{6810C06B-9863-F34C-A5FD-B2B2B81C9065}" dt="2023-12-04T08:20:49.888" v="971"/>
          <ac:spMkLst>
            <pc:docMk/>
            <pc:sldMk cId="1295194305" sldId="258"/>
            <ac:spMk id="17" creationId="{95DAF376-227D-6A25-8E92-CC38F87A1586}"/>
          </ac:spMkLst>
        </pc:spChg>
        <pc:spChg chg="mod">
          <ac:chgData name="Mostafa Atef" userId="864e42d8-5503-4f03-a238-cc8376af15e5" providerId="ADAL" clId="{6810C06B-9863-F34C-A5FD-B2B2B81C9065}" dt="2023-12-04T08:20:49.888" v="971"/>
          <ac:spMkLst>
            <pc:docMk/>
            <pc:sldMk cId="1295194305" sldId="258"/>
            <ac:spMk id="19" creationId="{5BAF7C97-B415-3F69-87E8-000EB63D5A6E}"/>
          </ac:spMkLst>
        </pc:spChg>
        <pc:spChg chg="add del mod">
          <ac:chgData name="Mostafa Atef" userId="864e42d8-5503-4f03-a238-cc8376af15e5" providerId="ADAL" clId="{6810C06B-9863-F34C-A5FD-B2B2B81C9065}" dt="2023-12-04T08:20:53.656" v="972"/>
          <ac:spMkLst>
            <pc:docMk/>
            <pc:sldMk cId="1295194305" sldId="258"/>
            <ac:spMk id="22" creationId="{C49D2B2F-117C-2167-83AF-5FB5925D5069}"/>
          </ac:spMkLst>
        </pc:spChg>
        <pc:spChg chg="add del">
          <ac:chgData name="Mostafa Atef" userId="864e42d8-5503-4f03-a238-cc8376af15e5" providerId="ADAL" clId="{6810C06B-9863-F34C-A5FD-B2B2B81C9065}" dt="2023-12-04T08:23:21.098" v="999" actId="22"/>
          <ac:spMkLst>
            <pc:docMk/>
            <pc:sldMk cId="1295194305" sldId="258"/>
            <ac:spMk id="30" creationId="{8969C71E-834F-C17E-0801-AA0530DA88CC}"/>
          </ac:spMkLst>
        </pc:spChg>
        <pc:spChg chg="add mod">
          <ac:chgData name="Mostafa Atef" userId="864e42d8-5503-4f03-a238-cc8376af15e5" providerId="ADAL" clId="{6810C06B-9863-F34C-A5FD-B2B2B81C9065}" dt="2023-12-04T08:27:32.685" v="1188" actId="113"/>
          <ac:spMkLst>
            <pc:docMk/>
            <pc:sldMk cId="1295194305" sldId="258"/>
            <ac:spMk id="31" creationId="{4C3BFA53-5B08-F237-D5D1-FCAA18735118}"/>
          </ac:spMkLst>
        </pc:spChg>
        <pc:spChg chg="add mod">
          <ac:chgData name="Mostafa Atef" userId="864e42d8-5503-4f03-a238-cc8376af15e5" providerId="ADAL" clId="{6810C06B-9863-F34C-A5FD-B2B2B81C9065}" dt="2023-12-04T08:27:28.566" v="1187" actId="113"/>
          <ac:spMkLst>
            <pc:docMk/>
            <pc:sldMk cId="1295194305" sldId="258"/>
            <ac:spMk id="32" creationId="{CAC11248-F095-C1A7-A408-09F636FA0ABC}"/>
          </ac:spMkLst>
        </pc:spChg>
        <pc:spChg chg="add mod">
          <ac:chgData name="Mostafa Atef" userId="864e42d8-5503-4f03-a238-cc8376af15e5" providerId="ADAL" clId="{6810C06B-9863-F34C-A5FD-B2B2B81C9065}" dt="2023-12-04T08:27:25.635" v="1186" actId="113"/>
          <ac:spMkLst>
            <pc:docMk/>
            <pc:sldMk cId="1295194305" sldId="258"/>
            <ac:spMk id="33" creationId="{0E43EAE2-F74A-5180-3650-F75B77773854}"/>
          </ac:spMkLst>
        </pc:spChg>
        <pc:grpChg chg="add del mod">
          <ac:chgData name="Mostafa Atef" userId="864e42d8-5503-4f03-a238-cc8376af15e5" providerId="ADAL" clId="{6810C06B-9863-F34C-A5FD-B2B2B81C9065}" dt="2023-12-04T08:20:21.365" v="967"/>
          <ac:grpSpMkLst>
            <pc:docMk/>
            <pc:sldMk cId="1295194305" sldId="258"/>
            <ac:grpSpMk id="4" creationId="{1FC768DB-C16E-A043-B358-9C6E845DA112}"/>
          </ac:grpSpMkLst>
        </pc:grpChg>
        <pc:grpChg chg="mod">
          <ac:chgData name="Mostafa Atef" userId="864e42d8-5503-4f03-a238-cc8376af15e5" providerId="ADAL" clId="{6810C06B-9863-F34C-A5FD-B2B2B81C9065}" dt="2023-12-04T08:20:16.481" v="966"/>
          <ac:grpSpMkLst>
            <pc:docMk/>
            <pc:sldMk cId="1295194305" sldId="258"/>
            <ac:grpSpMk id="8" creationId="{B874D881-655E-C7F9-62C9-43A41F335CD1}"/>
          </ac:grpSpMkLst>
        </pc:grpChg>
        <pc:grpChg chg="add del mod">
          <ac:chgData name="Mostafa Atef" userId="864e42d8-5503-4f03-a238-cc8376af15e5" providerId="ADAL" clId="{6810C06B-9863-F34C-A5FD-B2B2B81C9065}" dt="2023-12-04T08:20:53.656" v="972"/>
          <ac:grpSpMkLst>
            <pc:docMk/>
            <pc:sldMk cId="1295194305" sldId="258"/>
            <ac:grpSpMk id="12" creationId="{2C20C286-0D47-3CEA-A0BF-65252E602090}"/>
          </ac:grpSpMkLst>
        </pc:grpChg>
        <pc:grpChg chg="mod">
          <ac:chgData name="Mostafa Atef" userId="864e42d8-5503-4f03-a238-cc8376af15e5" providerId="ADAL" clId="{6810C06B-9863-F34C-A5FD-B2B2B81C9065}" dt="2023-12-04T08:20:49.888" v="971"/>
          <ac:grpSpMkLst>
            <pc:docMk/>
            <pc:sldMk cId="1295194305" sldId="258"/>
            <ac:grpSpMk id="16" creationId="{F0158A64-FDEF-8A5D-71E3-571CF8E9E25E}"/>
          </ac:grpSpMkLst>
        </pc:grpChg>
        <pc:graphicFrameChg chg="mod">
          <ac:chgData name="Mostafa Atef" userId="864e42d8-5503-4f03-a238-cc8376af15e5" providerId="ADAL" clId="{6810C06B-9863-F34C-A5FD-B2B2B81C9065}" dt="2023-12-04T08:20:16.481" v="966"/>
          <ac:graphicFrameMkLst>
            <pc:docMk/>
            <pc:sldMk cId="1295194305" sldId="258"/>
            <ac:graphicFrameMk id="6" creationId="{3B3DC81A-96ED-1622-4A6B-D0CF75AB9D8B}"/>
          </ac:graphicFrameMkLst>
        </pc:graphicFrameChg>
        <pc:graphicFrameChg chg="mod">
          <ac:chgData name="Mostafa Atef" userId="864e42d8-5503-4f03-a238-cc8376af15e5" providerId="ADAL" clId="{6810C06B-9863-F34C-A5FD-B2B2B81C9065}" dt="2023-12-04T08:20:49.888" v="971"/>
          <ac:graphicFrameMkLst>
            <pc:docMk/>
            <pc:sldMk cId="1295194305" sldId="258"/>
            <ac:graphicFrameMk id="14" creationId="{17594F97-13A5-71F6-88D2-7B104788E490}"/>
          </ac:graphicFrameMkLst>
        </pc:graphicFrameChg>
        <pc:graphicFrameChg chg="add del mod">
          <ac:chgData name="Mostafa Atef" userId="864e42d8-5503-4f03-a238-cc8376af15e5" providerId="ADAL" clId="{6810C06B-9863-F34C-A5FD-B2B2B81C9065}" dt="2023-12-04T08:20:53.656" v="972"/>
          <ac:graphicFrameMkLst>
            <pc:docMk/>
            <pc:sldMk cId="1295194305" sldId="258"/>
            <ac:graphicFrameMk id="20" creationId="{7DD611F5-A03B-3F40-E7AF-231FED84C66D}"/>
          </ac:graphicFrameMkLst>
        </pc:graphicFrameChg>
        <pc:graphicFrameChg chg="add del mod">
          <ac:chgData name="Mostafa Atef" userId="864e42d8-5503-4f03-a238-cc8376af15e5" providerId="ADAL" clId="{6810C06B-9863-F34C-A5FD-B2B2B81C9065}" dt="2023-12-04T08:20:53.656" v="972"/>
          <ac:graphicFrameMkLst>
            <pc:docMk/>
            <pc:sldMk cId="1295194305" sldId="258"/>
            <ac:graphicFrameMk id="21" creationId="{8BE8E4A6-835F-66D2-3231-1522FE56E1BE}"/>
          </ac:graphicFrameMkLst>
        </pc:graphicFrameChg>
        <pc:graphicFrameChg chg="add del mod">
          <ac:chgData name="Mostafa Atef" userId="864e42d8-5503-4f03-a238-cc8376af15e5" providerId="ADAL" clId="{6810C06B-9863-F34C-A5FD-B2B2B81C9065}" dt="2023-12-04T08:20:53.656" v="972"/>
          <ac:graphicFrameMkLst>
            <pc:docMk/>
            <pc:sldMk cId="1295194305" sldId="258"/>
            <ac:graphicFrameMk id="23" creationId="{72521AB3-6B5D-CBFF-CD89-D315955D70A8}"/>
          </ac:graphicFrameMkLst>
        </pc:graphicFrameChg>
        <pc:graphicFrameChg chg="add mod modGraphic">
          <ac:chgData name="Mostafa Atef" userId="864e42d8-5503-4f03-a238-cc8376af15e5" providerId="ADAL" clId="{6810C06B-9863-F34C-A5FD-B2B2B81C9065}" dt="2023-12-04T08:22:51.885" v="997" actId="20577"/>
          <ac:graphicFrameMkLst>
            <pc:docMk/>
            <pc:sldMk cId="1295194305" sldId="258"/>
            <ac:graphicFrameMk id="28" creationId="{B87AC8FF-9606-507C-3AB6-1DE2C8D5DB5D}"/>
          </ac:graphicFrameMkLst>
        </pc:graphicFrameChg>
        <pc:picChg chg="mod">
          <ac:chgData name="Mostafa Atef" userId="864e42d8-5503-4f03-a238-cc8376af15e5" providerId="ADAL" clId="{6810C06B-9863-F34C-A5FD-B2B2B81C9065}" dt="2023-12-04T08:20:16.481" v="966"/>
          <ac:picMkLst>
            <pc:docMk/>
            <pc:sldMk cId="1295194305" sldId="258"/>
            <ac:picMk id="10" creationId="{D291C231-90DE-FC36-4896-809DE31184E6}"/>
          </ac:picMkLst>
        </pc:picChg>
        <pc:picChg chg="mod">
          <ac:chgData name="Mostafa Atef" userId="864e42d8-5503-4f03-a238-cc8376af15e5" providerId="ADAL" clId="{6810C06B-9863-F34C-A5FD-B2B2B81C9065}" dt="2023-12-04T08:20:49.888" v="971"/>
          <ac:picMkLst>
            <pc:docMk/>
            <pc:sldMk cId="1295194305" sldId="258"/>
            <ac:picMk id="18" creationId="{9CE86856-0C03-0EB8-3EE8-499FDB2F84A3}"/>
          </ac:picMkLst>
        </pc:picChg>
        <pc:picChg chg="add del mod">
          <ac:chgData name="Mostafa Atef" userId="864e42d8-5503-4f03-a238-cc8376af15e5" providerId="ADAL" clId="{6810C06B-9863-F34C-A5FD-B2B2B81C9065}" dt="2023-12-04T08:20:53.656" v="972"/>
          <ac:picMkLst>
            <pc:docMk/>
            <pc:sldMk cId="1295194305" sldId="258"/>
            <ac:picMk id="24" creationId="{D4B0796A-DA5E-7BE4-6651-3B8E8E8B59F0}"/>
          </ac:picMkLst>
        </pc:picChg>
        <pc:picChg chg="add del mod">
          <ac:chgData name="Mostafa Atef" userId="864e42d8-5503-4f03-a238-cc8376af15e5" providerId="ADAL" clId="{6810C06B-9863-F34C-A5FD-B2B2B81C9065}" dt="2023-12-04T08:20:53.656" v="972"/>
          <ac:picMkLst>
            <pc:docMk/>
            <pc:sldMk cId="1295194305" sldId="258"/>
            <ac:picMk id="25" creationId="{1AF33FE4-E68A-12FC-7A09-9C358B631B19}"/>
          </ac:picMkLst>
        </pc:picChg>
        <pc:picChg chg="add del mod">
          <ac:chgData name="Mostafa Atef" userId="864e42d8-5503-4f03-a238-cc8376af15e5" providerId="ADAL" clId="{6810C06B-9863-F34C-A5FD-B2B2B81C9065}" dt="2023-12-04T08:20:53.656" v="972"/>
          <ac:picMkLst>
            <pc:docMk/>
            <pc:sldMk cId="1295194305" sldId="258"/>
            <ac:picMk id="26" creationId="{407C27B8-64C7-C9F2-4BEC-170C452DE99F}"/>
          </ac:picMkLst>
        </pc:picChg>
        <pc:picChg chg="add del mod">
          <ac:chgData name="Mostafa Atef" userId="864e42d8-5503-4f03-a238-cc8376af15e5" providerId="ADAL" clId="{6810C06B-9863-F34C-A5FD-B2B2B81C9065}" dt="2023-12-04T08:21:35.492" v="979" actId="21"/>
          <ac:picMkLst>
            <pc:docMk/>
            <pc:sldMk cId="1295194305" sldId="258"/>
            <ac:picMk id="27" creationId="{2AF177C9-29D6-D366-84E7-AE1A324B03E3}"/>
          </ac:picMkLst>
        </pc:picChg>
      </pc:sldChg>
      <pc:sldChg chg="addSp delSp modSp mod">
        <pc:chgData name="Mostafa Atef" userId="864e42d8-5503-4f03-a238-cc8376af15e5" providerId="ADAL" clId="{6810C06B-9863-F34C-A5FD-B2B2B81C9065}" dt="2023-12-04T12:18:41.209" v="1914" actId="14100"/>
        <pc:sldMkLst>
          <pc:docMk/>
          <pc:sldMk cId="3161832913" sldId="259"/>
        </pc:sldMkLst>
        <pc:spChg chg="add del mod">
          <ac:chgData name="Mostafa Atef" userId="864e42d8-5503-4f03-a238-cc8376af15e5" providerId="ADAL" clId="{6810C06B-9863-F34C-A5FD-B2B2B81C9065}" dt="2023-12-04T11:10:40.025" v="1535" actId="12084"/>
          <ac:spMkLst>
            <pc:docMk/>
            <pc:sldMk cId="3161832913" sldId="259"/>
            <ac:spMk id="3" creationId="{9264D81E-92BE-D5F8-587D-2956A2D9E021}"/>
          </ac:spMkLst>
        </pc:spChg>
        <pc:graphicFrameChg chg="add del mod modGraphic">
          <ac:chgData name="Mostafa Atef" userId="864e42d8-5503-4f03-a238-cc8376af15e5" providerId="ADAL" clId="{6810C06B-9863-F34C-A5FD-B2B2B81C9065}" dt="2023-12-04T11:10:26.195" v="1534" actId="12084"/>
          <ac:graphicFrameMkLst>
            <pc:docMk/>
            <pc:sldMk cId="3161832913" sldId="259"/>
            <ac:graphicFrameMk id="4" creationId="{5D56925A-F82F-D6D8-1D2F-58207E0B1DAF}"/>
          </ac:graphicFrameMkLst>
        </pc:graphicFrameChg>
        <pc:graphicFrameChg chg="add mod">
          <ac:chgData name="Mostafa Atef" userId="864e42d8-5503-4f03-a238-cc8376af15e5" providerId="ADAL" clId="{6810C06B-9863-F34C-A5FD-B2B2B81C9065}" dt="2023-12-04T12:18:41.209" v="1914" actId="14100"/>
          <ac:graphicFrameMkLst>
            <pc:docMk/>
            <pc:sldMk cId="3161832913" sldId="259"/>
            <ac:graphicFrameMk id="5" creationId="{05526E76-AB6F-E30F-EF20-5F6197C56B1E}"/>
          </ac:graphicFrameMkLst>
        </pc:graphicFrameChg>
      </pc:sldChg>
      <pc:sldChg chg="addSp delSp modSp mod ord">
        <pc:chgData name="Mostafa Atef" userId="864e42d8-5503-4f03-a238-cc8376af15e5" providerId="ADAL" clId="{6810C06B-9863-F34C-A5FD-B2B2B81C9065}" dt="2023-12-04T12:18:12.440" v="1913" actId="1076"/>
        <pc:sldMkLst>
          <pc:docMk/>
          <pc:sldMk cId="3481144781" sldId="260"/>
        </pc:sldMkLst>
        <pc:spChg chg="mod">
          <ac:chgData name="Mostafa Atef" userId="864e42d8-5503-4f03-a238-cc8376af15e5" providerId="ADAL" clId="{6810C06B-9863-F34C-A5FD-B2B2B81C9065}" dt="2023-12-04T11:18:12.967" v="1623"/>
          <ac:spMkLst>
            <pc:docMk/>
            <pc:sldMk cId="3481144781" sldId="260"/>
            <ac:spMk id="2" creationId="{D7E837CD-8DC7-B57D-841F-5918716773B2}"/>
          </ac:spMkLst>
        </pc:spChg>
        <pc:spChg chg="mod">
          <ac:chgData name="Mostafa Atef" userId="864e42d8-5503-4f03-a238-cc8376af15e5" providerId="ADAL" clId="{6810C06B-9863-F34C-A5FD-B2B2B81C9065}" dt="2023-12-04T11:13:21.693" v="1555" actId="207"/>
          <ac:spMkLst>
            <pc:docMk/>
            <pc:sldMk cId="3481144781" sldId="260"/>
            <ac:spMk id="7" creationId="{0DB0C41F-C163-85A7-DA5E-A4624DD132A1}"/>
          </ac:spMkLst>
        </pc:spChg>
        <pc:spChg chg="mod">
          <ac:chgData name="Mostafa Atef" userId="864e42d8-5503-4f03-a238-cc8376af15e5" providerId="ADAL" clId="{6810C06B-9863-F34C-A5FD-B2B2B81C9065}" dt="2023-12-04T11:12:37.892" v="1552" actId="207"/>
          <ac:spMkLst>
            <pc:docMk/>
            <pc:sldMk cId="3481144781" sldId="260"/>
            <ac:spMk id="8" creationId="{C2E77C4A-C34E-A7B9-B5EC-CD5002412654}"/>
          </ac:spMkLst>
        </pc:spChg>
        <pc:spChg chg="mod">
          <ac:chgData name="Mostafa Atef" userId="864e42d8-5503-4f03-a238-cc8376af15e5" providerId="ADAL" clId="{6810C06B-9863-F34C-A5FD-B2B2B81C9065}" dt="2023-12-04T07:29:10.800" v="148" actId="1076"/>
          <ac:spMkLst>
            <pc:docMk/>
            <pc:sldMk cId="3481144781" sldId="260"/>
            <ac:spMk id="12" creationId="{9D974F66-B7AD-C9AD-2F99-1B916FC8A03B}"/>
          </ac:spMkLst>
        </pc:spChg>
        <pc:spChg chg="mod">
          <ac:chgData name="Mostafa Atef" userId="864e42d8-5503-4f03-a238-cc8376af15e5" providerId="ADAL" clId="{6810C06B-9863-F34C-A5FD-B2B2B81C9065}" dt="2023-12-04T07:29:18.164" v="149" actId="1076"/>
          <ac:spMkLst>
            <pc:docMk/>
            <pc:sldMk cId="3481144781" sldId="260"/>
            <ac:spMk id="14" creationId="{FDD8EEA0-ED77-FE05-DCDE-946F6EC97449}"/>
          </ac:spMkLst>
        </pc:spChg>
        <pc:spChg chg="mod">
          <ac:chgData name="Mostafa Atef" userId="864e42d8-5503-4f03-a238-cc8376af15e5" providerId="ADAL" clId="{6810C06B-9863-F34C-A5FD-B2B2B81C9065}" dt="2023-12-04T07:30:10.724" v="177" actId="1035"/>
          <ac:spMkLst>
            <pc:docMk/>
            <pc:sldMk cId="3481144781" sldId="260"/>
            <ac:spMk id="16" creationId="{0664ABEE-B2D7-AEAC-A14E-D53B1C83E5A8}"/>
          </ac:spMkLst>
        </pc:spChg>
        <pc:spChg chg="mod">
          <ac:chgData name="Mostafa Atef" userId="864e42d8-5503-4f03-a238-cc8376af15e5" providerId="ADAL" clId="{6810C06B-9863-F34C-A5FD-B2B2B81C9065}" dt="2023-12-04T07:27:57.380" v="95" actId="1076"/>
          <ac:spMkLst>
            <pc:docMk/>
            <pc:sldMk cId="3481144781" sldId="260"/>
            <ac:spMk id="21" creationId="{CB43C636-73A3-BA3A-E181-0FE21DA9BDAE}"/>
          </ac:spMkLst>
        </pc:spChg>
        <pc:spChg chg="mod">
          <ac:chgData name="Mostafa Atef" userId="864e42d8-5503-4f03-a238-cc8376af15e5" providerId="ADAL" clId="{6810C06B-9863-F34C-A5FD-B2B2B81C9065}" dt="2023-12-04T10:48:33.401" v="1378" actId="1076"/>
          <ac:spMkLst>
            <pc:docMk/>
            <pc:sldMk cId="3481144781" sldId="260"/>
            <ac:spMk id="22" creationId="{DA863123-BB0D-69D4-1B3D-FCA559506368}"/>
          </ac:spMkLst>
        </pc:spChg>
        <pc:spChg chg="mod">
          <ac:chgData name="Mostafa Atef" userId="864e42d8-5503-4f03-a238-cc8376af15e5" providerId="ADAL" clId="{6810C06B-9863-F34C-A5FD-B2B2B81C9065}" dt="2023-12-04T10:48:21.738" v="1376" actId="1076"/>
          <ac:spMkLst>
            <pc:docMk/>
            <pc:sldMk cId="3481144781" sldId="260"/>
            <ac:spMk id="25" creationId="{8DD859B3-7D1C-50E7-1AFC-81F599110A37}"/>
          </ac:spMkLst>
        </pc:spChg>
        <pc:spChg chg="mod">
          <ac:chgData name="Mostafa Atef" userId="864e42d8-5503-4f03-a238-cc8376af15e5" providerId="ADAL" clId="{6810C06B-9863-F34C-A5FD-B2B2B81C9065}" dt="2023-12-04T10:48:28.469" v="1377" actId="1076"/>
          <ac:spMkLst>
            <pc:docMk/>
            <pc:sldMk cId="3481144781" sldId="260"/>
            <ac:spMk id="26" creationId="{9E385757-E900-070B-17D6-F80C7BB32764}"/>
          </ac:spMkLst>
        </pc:spChg>
        <pc:spChg chg="mod">
          <ac:chgData name="Mostafa Atef" userId="864e42d8-5503-4f03-a238-cc8376af15e5" providerId="ADAL" clId="{6810C06B-9863-F34C-A5FD-B2B2B81C9065}" dt="2023-12-04T10:48:09.588" v="1374" actId="1076"/>
          <ac:spMkLst>
            <pc:docMk/>
            <pc:sldMk cId="3481144781" sldId="260"/>
            <ac:spMk id="29" creationId="{2E263175-C33C-A887-584A-A4A81E7BB3B4}"/>
          </ac:spMkLst>
        </pc:spChg>
        <pc:spChg chg="mod">
          <ac:chgData name="Mostafa Atef" userId="864e42d8-5503-4f03-a238-cc8376af15e5" providerId="ADAL" clId="{6810C06B-9863-F34C-A5FD-B2B2B81C9065}" dt="2023-12-04T10:48:16.021" v="1375" actId="1076"/>
          <ac:spMkLst>
            <pc:docMk/>
            <pc:sldMk cId="3481144781" sldId="260"/>
            <ac:spMk id="30" creationId="{68E574A0-C595-E0C7-864A-A6505C2DAA3A}"/>
          </ac:spMkLst>
        </pc:spChg>
        <pc:spChg chg="mod">
          <ac:chgData name="Mostafa Atef" userId="864e42d8-5503-4f03-a238-cc8376af15e5" providerId="ADAL" clId="{6810C06B-9863-F34C-A5FD-B2B2B81C9065}" dt="2023-12-04T07:28:14.878" v="111" actId="20577"/>
          <ac:spMkLst>
            <pc:docMk/>
            <pc:sldMk cId="3481144781" sldId="260"/>
            <ac:spMk id="34" creationId="{F17B17B3-7B62-29CE-0E50-429403F45E20}"/>
          </ac:spMkLst>
        </pc:spChg>
        <pc:spChg chg="del mod">
          <ac:chgData name="Mostafa Atef" userId="864e42d8-5503-4f03-a238-cc8376af15e5" providerId="ADAL" clId="{6810C06B-9863-F34C-A5FD-B2B2B81C9065}" dt="2023-12-04T07:30:34.221" v="180" actId="478"/>
          <ac:spMkLst>
            <pc:docMk/>
            <pc:sldMk cId="3481144781" sldId="260"/>
            <ac:spMk id="36" creationId="{805D321B-1401-101A-F651-6CD39850B2A6}"/>
          </ac:spMkLst>
        </pc:spChg>
        <pc:spChg chg="del">
          <ac:chgData name="Mostafa Atef" userId="864e42d8-5503-4f03-a238-cc8376af15e5" providerId="ADAL" clId="{6810C06B-9863-F34C-A5FD-B2B2B81C9065}" dt="2023-12-04T07:29:44.467" v="151" actId="478"/>
          <ac:spMkLst>
            <pc:docMk/>
            <pc:sldMk cId="3481144781" sldId="260"/>
            <ac:spMk id="38" creationId="{12391266-684E-3DCC-C10A-E891A7F484B3}"/>
          </ac:spMkLst>
        </pc:spChg>
        <pc:spChg chg="mod">
          <ac:chgData name="Mostafa Atef" userId="864e42d8-5503-4f03-a238-cc8376af15e5" providerId="ADAL" clId="{6810C06B-9863-F34C-A5FD-B2B2B81C9065}" dt="2023-12-04T07:28:51.547" v="132" actId="20577"/>
          <ac:spMkLst>
            <pc:docMk/>
            <pc:sldMk cId="3481144781" sldId="260"/>
            <ac:spMk id="40" creationId="{9C493F5E-FED8-8FEB-FB15-3A0164F84BEE}"/>
          </ac:spMkLst>
        </pc:spChg>
        <pc:spChg chg="mod">
          <ac:chgData name="Mostafa Atef" userId="864e42d8-5503-4f03-a238-cc8376af15e5" providerId="ADAL" clId="{6810C06B-9863-F34C-A5FD-B2B2B81C9065}" dt="2023-12-04T07:28:59.375" v="147" actId="20577"/>
          <ac:spMkLst>
            <pc:docMk/>
            <pc:sldMk cId="3481144781" sldId="260"/>
            <ac:spMk id="42" creationId="{F4A6B21C-27B5-4585-73C3-D3241F457872}"/>
          </ac:spMkLst>
        </pc:spChg>
        <pc:spChg chg="mod">
          <ac:chgData name="Mostafa Atef" userId="864e42d8-5503-4f03-a238-cc8376af15e5" providerId="ADAL" clId="{6810C06B-9863-F34C-A5FD-B2B2B81C9065}" dt="2023-12-04T11:20:43.205" v="1643" actId="207"/>
          <ac:spMkLst>
            <pc:docMk/>
            <pc:sldMk cId="3481144781" sldId="260"/>
            <ac:spMk id="47" creationId="{DD8CFB3E-68C3-43B9-593E-4757AC2368A1}"/>
          </ac:spMkLst>
        </pc:spChg>
        <pc:spChg chg="mod">
          <ac:chgData name="Mostafa Atef" userId="864e42d8-5503-4f03-a238-cc8376af15e5" providerId="ADAL" clId="{6810C06B-9863-F34C-A5FD-B2B2B81C9065}" dt="2023-12-04T10:53:31.442" v="1468" actId="20577"/>
          <ac:spMkLst>
            <pc:docMk/>
            <pc:sldMk cId="3481144781" sldId="260"/>
            <ac:spMk id="50" creationId="{A8B7AB76-042E-69E8-7F55-59F0BF8E2615}"/>
          </ac:spMkLst>
        </pc:spChg>
        <pc:spChg chg="mod">
          <ac:chgData name="Mostafa Atef" userId="864e42d8-5503-4f03-a238-cc8376af15e5" providerId="ADAL" clId="{6810C06B-9863-F34C-A5FD-B2B2B81C9065}" dt="2023-12-04T10:53:05.460" v="1464" actId="1038"/>
          <ac:spMkLst>
            <pc:docMk/>
            <pc:sldMk cId="3481144781" sldId="260"/>
            <ac:spMk id="51" creationId="{63F54D79-B509-4BF7-E0E3-E7320A296842}"/>
          </ac:spMkLst>
        </pc:spChg>
        <pc:spChg chg="mod">
          <ac:chgData name="Mostafa Atef" userId="864e42d8-5503-4f03-a238-cc8376af15e5" providerId="ADAL" clId="{6810C06B-9863-F34C-A5FD-B2B2B81C9065}" dt="2023-12-04T10:53:26.248" v="1465" actId="20577"/>
          <ac:spMkLst>
            <pc:docMk/>
            <pc:sldMk cId="3481144781" sldId="260"/>
            <ac:spMk id="54" creationId="{ED197760-F4CB-B4C6-27B4-66F9657E0D58}"/>
          </ac:spMkLst>
        </pc:spChg>
        <pc:spChg chg="mod">
          <ac:chgData name="Mostafa Atef" userId="864e42d8-5503-4f03-a238-cc8376af15e5" providerId="ADAL" clId="{6810C06B-9863-F34C-A5FD-B2B2B81C9065}" dt="2023-12-04T10:52:23.339" v="1456" actId="1038"/>
          <ac:spMkLst>
            <pc:docMk/>
            <pc:sldMk cId="3481144781" sldId="260"/>
            <ac:spMk id="55" creationId="{2BAAD8A2-0FAD-CA23-94E9-834A60AF016C}"/>
          </ac:spMkLst>
        </pc:spChg>
        <pc:spChg chg="del">
          <ac:chgData name="Mostafa Atef" userId="864e42d8-5503-4f03-a238-cc8376af15e5" providerId="ADAL" clId="{6810C06B-9863-F34C-A5FD-B2B2B81C9065}" dt="2023-12-04T07:45:51.775" v="225" actId="478"/>
          <ac:spMkLst>
            <pc:docMk/>
            <pc:sldMk cId="3481144781" sldId="260"/>
            <ac:spMk id="57" creationId="{014C7B77-F970-B4A4-2D14-03439259C89B}"/>
          </ac:spMkLst>
        </pc:spChg>
        <pc:spChg chg="mod">
          <ac:chgData name="Mostafa Atef" userId="864e42d8-5503-4f03-a238-cc8376af15e5" providerId="ADAL" clId="{6810C06B-9863-F34C-A5FD-B2B2B81C9065}" dt="2023-12-04T10:51:53.681" v="1426" actId="1037"/>
          <ac:spMkLst>
            <pc:docMk/>
            <pc:sldMk cId="3481144781" sldId="260"/>
            <ac:spMk id="58" creationId="{B81FC618-05FF-1367-91EB-913E5B004F23}"/>
          </ac:spMkLst>
        </pc:spChg>
        <pc:spChg chg="del">
          <ac:chgData name="Mostafa Atef" userId="864e42d8-5503-4f03-a238-cc8376af15e5" providerId="ADAL" clId="{6810C06B-9863-F34C-A5FD-B2B2B81C9065}" dt="2023-12-04T07:46:04.682" v="226" actId="478"/>
          <ac:spMkLst>
            <pc:docMk/>
            <pc:sldMk cId="3481144781" sldId="260"/>
            <ac:spMk id="61" creationId="{693E2767-BBE2-9BF5-79ED-5F8E52C612D8}"/>
          </ac:spMkLst>
        </pc:spChg>
        <pc:spChg chg="del mod">
          <ac:chgData name="Mostafa Atef" userId="864e42d8-5503-4f03-a238-cc8376af15e5" providerId="ADAL" clId="{6810C06B-9863-F34C-A5FD-B2B2B81C9065}" dt="2023-12-04T10:48:48.766" v="1388" actId="478"/>
          <ac:spMkLst>
            <pc:docMk/>
            <pc:sldMk cId="3481144781" sldId="260"/>
            <ac:spMk id="63" creationId="{C807BB3F-70BF-F7A2-8AAF-1389AD208D2C}"/>
          </ac:spMkLst>
        </pc:spChg>
        <pc:spChg chg="mod">
          <ac:chgData name="Mostafa Atef" userId="864e42d8-5503-4f03-a238-cc8376af15e5" providerId="ADAL" clId="{6810C06B-9863-F34C-A5FD-B2B2B81C9065}" dt="2023-12-04T10:47:03.082" v="1344" actId="1038"/>
          <ac:spMkLst>
            <pc:docMk/>
            <pc:sldMk cId="3481144781" sldId="260"/>
            <ac:spMk id="65" creationId="{70B92AD9-08DB-3777-52A8-85ABACEA8E1B}"/>
          </ac:spMkLst>
        </pc:spChg>
        <pc:spChg chg="mod">
          <ac:chgData name="Mostafa Atef" userId="864e42d8-5503-4f03-a238-cc8376af15e5" providerId="ADAL" clId="{6810C06B-9863-F34C-A5FD-B2B2B81C9065}" dt="2023-12-04T10:47:56.353" v="1373" actId="20577"/>
          <ac:spMkLst>
            <pc:docMk/>
            <pc:sldMk cId="3481144781" sldId="260"/>
            <ac:spMk id="66" creationId="{CE9044E9-0DD3-6414-0D46-4B5D3C909BE2}"/>
          </ac:spMkLst>
        </pc:spChg>
        <pc:spChg chg="mod">
          <ac:chgData name="Mostafa Atef" userId="864e42d8-5503-4f03-a238-cc8376af15e5" providerId="ADAL" clId="{6810C06B-9863-F34C-A5FD-B2B2B81C9065}" dt="2023-12-04T11:08:23.450" v="1501" actId="1076"/>
          <ac:spMkLst>
            <pc:docMk/>
            <pc:sldMk cId="3481144781" sldId="260"/>
            <ac:spMk id="67" creationId="{F5B2D9A7-7F2E-E75F-BA18-C8A60C8481C8}"/>
          </ac:spMkLst>
        </pc:spChg>
        <pc:spChg chg="del">
          <ac:chgData name="Mostafa Atef" userId="864e42d8-5503-4f03-a238-cc8376af15e5" providerId="ADAL" clId="{6810C06B-9863-F34C-A5FD-B2B2B81C9065}" dt="2023-12-04T07:46:04.682" v="226" actId="478"/>
          <ac:spMkLst>
            <pc:docMk/>
            <pc:sldMk cId="3481144781" sldId="260"/>
            <ac:spMk id="69" creationId="{6E350EF4-AE0A-8AA7-EDC6-442789490766}"/>
          </ac:spMkLst>
        </pc:spChg>
        <pc:spChg chg="add mod">
          <ac:chgData name="Mostafa Atef" userId="864e42d8-5503-4f03-a238-cc8376af15e5" providerId="ADAL" clId="{6810C06B-9863-F34C-A5FD-B2B2B81C9065}" dt="2023-12-04T10:51:21.636" v="1410" actId="1076"/>
          <ac:spMkLst>
            <pc:docMk/>
            <pc:sldMk cId="3481144781" sldId="260"/>
            <ac:spMk id="71" creationId="{5F3112F1-E037-5343-4B73-29FACF49D582}"/>
          </ac:spMkLst>
        </pc:spChg>
        <pc:spChg chg="del mod">
          <ac:chgData name="Mostafa Atef" userId="864e42d8-5503-4f03-a238-cc8376af15e5" providerId="ADAL" clId="{6810C06B-9863-F34C-A5FD-B2B2B81C9065}" dt="2023-12-04T12:13:48.952" v="1906" actId="478"/>
          <ac:spMkLst>
            <pc:docMk/>
            <pc:sldMk cId="3481144781" sldId="260"/>
            <ac:spMk id="72" creationId="{104F81E9-BB3B-2842-78E1-10411CE5F587}"/>
          </ac:spMkLst>
        </pc:spChg>
        <pc:spChg chg="add del mod">
          <ac:chgData name="Mostafa Atef" userId="864e42d8-5503-4f03-a238-cc8376af15e5" providerId="ADAL" clId="{6810C06B-9863-F34C-A5FD-B2B2B81C9065}" dt="2023-12-04T12:13:52.002" v="1907" actId="478"/>
          <ac:spMkLst>
            <pc:docMk/>
            <pc:sldMk cId="3481144781" sldId="260"/>
            <ac:spMk id="74" creationId="{06B75723-2D61-1D1A-806E-1D6A9E8D3F74}"/>
          </ac:spMkLst>
        </pc:spChg>
        <pc:spChg chg="add del mod">
          <ac:chgData name="Mostafa Atef" userId="864e42d8-5503-4f03-a238-cc8376af15e5" providerId="ADAL" clId="{6810C06B-9863-F34C-A5FD-B2B2B81C9065}" dt="2023-12-04T12:14:11.036" v="1910" actId="478"/>
          <ac:spMkLst>
            <pc:docMk/>
            <pc:sldMk cId="3481144781" sldId="260"/>
            <ac:spMk id="76" creationId="{C6758003-4ED3-D420-87F3-6E7FD19FC0E8}"/>
          </ac:spMkLst>
        </pc:spChg>
        <pc:spChg chg="add mod">
          <ac:chgData name="Mostafa Atef" userId="864e42d8-5503-4f03-a238-cc8376af15e5" providerId="ADAL" clId="{6810C06B-9863-F34C-A5FD-B2B2B81C9065}" dt="2023-12-04T12:14:17.230" v="1912" actId="20577"/>
          <ac:spMkLst>
            <pc:docMk/>
            <pc:sldMk cId="3481144781" sldId="260"/>
            <ac:spMk id="77" creationId="{4CC20A27-3578-FE09-C744-672754B1BABD}"/>
          </ac:spMkLst>
        </pc:spChg>
        <pc:grpChg chg="mod">
          <ac:chgData name="Mostafa Atef" userId="864e42d8-5503-4f03-a238-cc8376af15e5" providerId="ADAL" clId="{6810C06B-9863-F34C-A5FD-B2B2B81C9065}" dt="2023-12-04T11:18:23.985" v="1624" actId="1076"/>
          <ac:grpSpMkLst>
            <pc:docMk/>
            <pc:sldMk cId="3481144781" sldId="260"/>
            <ac:grpSpMk id="70" creationId="{DAD68A20-886A-7EF8-0A5A-5A6F9017D9E1}"/>
          </ac:grpSpMkLst>
        </pc:grpChg>
        <pc:picChg chg="add mod">
          <ac:chgData name="Mostafa Atef" userId="864e42d8-5503-4f03-a238-cc8376af15e5" providerId="ADAL" clId="{6810C06B-9863-F34C-A5FD-B2B2B81C9065}" dt="2023-12-04T12:18:12.440" v="1913" actId="1076"/>
          <ac:picMkLst>
            <pc:docMk/>
            <pc:sldMk cId="3481144781" sldId="260"/>
            <ac:picMk id="3" creationId="{2A763C92-2C06-CE23-ED01-9FC8FEAB121C}"/>
          </ac:picMkLst>
        </pc:picChg>
        <pc:picChg chg="mod">
          <ac:chgData name="Mostafa Atef" userId="864e42d8-5503-4f03-a238-cc8376af15e5" providerId="ADAL" clId="{6810C06B-9863-F34C-A5FD-B2B2B81C9065}" dt="2023-12-04T07:29:10.800" v="148" actId="1076"/>
          <ac:picMkLst>
            <pc:docMk/>
            <pc:sldMk cId="3481144781" sldId="260"/>
            <ac:picMk id="10" creationId="{AAEE3907-BD0F-16D3-0E49-5788E9B29011}"/>
          </ac:picMkLst>
        </pc:picChg>
        <pc:picChg chg="mod">
          <ac:chgData name="Mostafa Atef" userId="864e42d8-5503-4f03-a238-cc8376af15e5" providerId="ADAL" clId="{6810C06B-9863-F34C-A5FD-B2B2B81C9065}" dt="2023-12-04T07:29:10.800" v="148" actId="1076"/>
          <ac:picMkLst>
            <pc:docMk/>
            <pc:sldMk cId="3481144781" sldId="260"/>
            <ac:picMk id="11" creationId="{4424469F-66EC-2AA1-0418-6CB60199F1BB}"/>
          </ac:picMkLst>
        </pc:picChg>
        <pc:picChg chg="mod">
          <ac:chgData name="Mostafa Atef" userId="864e42d8-5503-4f03-a238-cc8376af15e5" providerId="ADAL" clId="{6810C06B-9863-F34C-A5FD-B2B2B81C9065}" dt="2023-12-04T07:29:23.518" v="150" actId="1076"/>
          <ac:picMkLst>
            <pc:docMk/>
            <pc:sldMk cId="3481144781" sldId="260"/>
            <ac:picMk id="13" creationId="{D8B47DBE-17BE-27A0-9B1B-013A4C24F498}"/>
          </ac:picMkLst>
        </pc:picChg>
        <pc:picChg chg="mod">
          <ac:chgData name="Mostafa Atef" userId="864e42d8-5503-4f03-a238-cc8376af15e5" providerId="ADAL" clId="{6810C06B-9863-F34C-A5FD-B2B2B81C9065}" dt="2023-12-04T07:30:10.724" v="177" actId="1035"/>
          <ac:picMkLst>
            <pc:docMk/>
            <pc:sldMk cId="3481144781" sldId="260"/>
            <ac:picMk id="15" creationId="{35AB12B3-7410-7994-E8E4-9E40244F43DA}"/>
          </ac:picMkLst>
        </pc:picChg>
        <pc:picChg chg="mod">
          <ac:chgData name="Mostafa Atef" userId="864e42d8-5503-4f03-a238-cc8376af15e5" providerId="ADAL" clId="{6810C06B-9863-F34C-A5FD-B2B2B81C9065}" dt="2023-12-04T07:30:48.212" v="197" actId="1038"/>
          <ac:picMkLst>
            <pc:docMk/>
            <pc:sldMk cId="3481144781" sldId="260"/>
            <ac:picMk id="23" creationId="{A0B61A62-E118-2109-AFA7-746915574817}"/>
          </ac:picMkLst>
        </pc:picChg>
        <pc:picChg chg="mod">
          <ac:chgData name="Mostafa Atef" userId="864e42d8-5503-4f03-a238-cc8376af15e5" providerId="ADAL" clId="{6810C06B-9863-F34C-A5FD-B2B2B81C9065}" dt="2023-12-04T07:30:48.212" v="197" actId="1038"/>
          <ac:picMkLst>
            <pc:docMk/>
            <pc:sldMk cId="3481144781" sldId="260"/>
            <ac:picMk id="24" creationId="{4E7E5847-72D3-04F2-7E86-06540F8FF6B3}"/>
          </ac:picMkLst>
        </pc:picChg>
        <pc:picChg chg="del mod">
          <ac:chgData name="Mostafa Atef" userId="864e42d8-5503-4f03-a238-cc8376af15e5" providerId="ADAL" clId="{6810C06B-9863-F34C-A5FD-B2B2B81C9065}" dt="2023-12-04T07:30:34.221" v="180" actId="478"/>
          <ac:picMkLst>
            <pc:docMk/>
            <pc:sldMk cId="3481144781" sldId="260"/>
            <ac:picMk id="35" creationId="{1E392C16-5F5D-6930-4CB6-B8E427946C52}"/>
          </ac:picMkLst>
        </pc:picChg>
        <pc:picChg chg="del">
          <ac:chgData name="Mostafa Atef" userId="864e42d8-5503-4f03-a238-cc8376af15e5" providerId="ADAL" clId="{6810C06B-9863-F34C-A5FD-B2B2B81C9065}" dt="2023-12-04T07:29:44.467" v="151" actId="478"/>
          <ac:picMkLst>
            <pc:docMk/>
            <pc:sldMk cId="3481144781" sldId="260"/>
            <ac:picMk id="37" creationId="{000D7AE8-5C8D-9ECA-E9C8-F86D175069A2}"/>
          </ac:picMkLst>
        </pc:picChg>
        <pc:picChg chg="mod">
          <ac:chgData name="Mostafa Atef" userId="864e42d8-5503-4f03-a238-cc8376af15e5" providerId="ADAL" clId="{6810C06B-9863-F34C-A5FD-B2B2B81C9065}" dt="2023-12-04T11:19:26.478" v="1631"/>
          <ac:picMkLst>
            <pc:docMk/>
            <pc:sldMk cId="3481144781" sldId="260"/>
            <ac:picMk id="48" creationId="{26A48B92-7E9F-50D3-B5E5-551C55891369}"/>
          </ac:picMkLst>
        </pc:picChg>
        <pc:picChg chg="mod">
          <ac:chgData name="Mostafa Atef" userId="864e42d8-5503-4f03-a238-cc8376af15e5" providerId="ADAL" clId="{6810C06B-9863-F34C-A5FD-B2B2B81C9065}" dt="2023-12-04T10:53:05.460" v="1464" actId="1038"/>
          <ac:picMkLst>
            <pc:docMk/>
            <pc:sldMk cId="3481144781" sldId="260"/>
            <ac:picMk id="49" creationId="{FCE992A3-1F8B-23D9-CF02-16529331C4C0}"/>
          </ac:picMkLst>
        </pc:picChg>
        <pc:picChg chg="mod">
          <ac:chgData name="Mostafa Atef" userId="864e42d8-5503-4f03-a238-cc8376af15e5" providerId="ADAL" clId="{6810C06B-9863-F34C-A5FD-B2B2B81C9065}" dt="2023-12-04T10:52:28.756" v="1458" actId="1035"/>
          <ac:picMkLst>
            <pc:docMk/>
            <pc:sldMk cId="3481144781" sldId="260"/>
            <ac:picMk id="52" creationId="{4887FC5A-1EE1-50BF-13E9-2FA304397680}"/>
          </ac:picMkLst>
        </pc:picChg>
        <pc:picChg chg="mod">
          <ac:chgData name="Mostafa Atef" userId="864e42d8-5503-4f03-a238-cc8376af15e5" providerId="ADAL" clId="{6810C06B-9863-F34C-A5FD-B2B2B81C9065}" dt="2023-12-04T10:52:18.147" v="1453" actId="1038"/>
          <ac:picMkLst>
            <pc:docMk/>
            <pc:sldMk cId="3481144781" sldId="260"/>
            <ac:picMk id="53" creationId="{C9CC9543-456C-7F77-5B22-711471E2EDBE}"/>
          </ac:picMkLst>
        </pc:picChg>
        <pc:picChg chg="del">
          <ac:chgData name="Mostafa Atef" userId="864e42d8-5503-4f03-a238-cc8376af15e5" providerId="ADAL" clId="{6810C06B-9863-F34C-A5FD-B2B2B81C9065}" dt="2023-12-04T07:46:10.364" v="227" actId="478"/>
          <ac:picMkLst>
            <pc:docMk/>
            <pc:sldMk cId="3481144781" sldId="260"/>
            <ac:picMk id="59" creationId="{FEBB5794-77A7-2CA1-2670-BFB9C5567E3A}"/>
          </ac:picMkLst>
        </pc:picChg>
        <pc:picChg chg="del">
          <ac:chgData name="Mostafa Atef" userId="864e42d8-5503-4f03-a238-cc8376af15e5" providerId="ADAL" clId="{6810C06B-9863-F34C-A5FD-B2B2B81C9065}" dt="2023-12-04T07:46:04.682" v="226" actId="478"/>
          <ac:picMkLst>
            <pc:docMk/>
            <pc:sldMk cId="3481144781" sldId="260"/>
            <ac:picMk id="60" creationId="{4C74A676-E3E6-89E5-1B48-E3B88C2D55C4}"/>
          </ac:picMkLst>
        </pc:picChg>
        <pc:picChg chg="del">
          <ac:chgData name="Mostafa Atef" userId="864e42d8-5503-4f03-a238-cc8376af15e5" providerId="ADAL" clId="{6810C06B-9863-F34C-A5FD-B2B2B81C9065}" dt="2023-12-04T10:48:51.697" v="1390" actId="478"/>
          <ac:picMkLst>
            <pc:docMk/>
            <pc:sldMk cId="3481144781" sldId="260"/>
            <ac:picMk id="62" creationId="{7914A9FC-D941-A7D8-7D86-3A8E9DF1FFC8}"/>
          </ac:picMkLst>
        </pc:picChg>
        <pc:picChg chg="mod">
          <ac:chgData name="Mostafa Atef" userId="864e42d8-5503-4f03-a238-cc8376af15e5" providerId="ADAL" clId="{6810C06B-9863-F34C-A5FD-B2B2B81C9065}" dt="2023-12-04T10:51:43.265" v="1419" actId="1038"/>
          <ac:picMkLst>
            <pc:docMk/>
            <pc:sldMk cId="3481144781" sldId="260"/>
            <ac:picMk id="64" creationId="{F2638C7B-D7FA-0D19-FD23-7B9FD71A2D10}"/>
          </ac:picMkLst>
        </pc:picChg>
        <pc:picChg chg="mod">
          <ac:chgData name="Mostafa Atef" userId="864e42d8-5503-4f03-a238-cc8376af15e5" providerId="ADAL" clId="{6810C06B-9863-F34C-A5FD-B2B2B81C9065}" dt="2023-12-04T07:30:48.212" v="197" actId="1038"/>
          <ac:picMkLst>
            <pc:docMk/>
            <pc:sldMk cId="3481144781" sldId="260"/>
            <ac:picMk id="68" creationId="{D8A850E8-74E1-27F9-8604-C0A94CA0F5C9}"/>
          </ac:picMkLst>
        </pc:picChg>
      </pc:sldChg>
      <pc:sldChg chg="addSp delSp modSp del mod">
        <pc:chgData name="Mostafa Atef" userId="864e42d8-5503-4f03-a238-cc8376af15e5" providerId="ADAL" clId="{6810C06B-9863-F34C-A5FD-B2B2B81C9065}" dt="2023-12-04T08:17:06.725" v="949" actId="2696"/>
        <pc:sldMkLst>
          <pc:docMk/>
          <pc:sldMk cId="2365713879" sldId="261"/>
        </pc:sldMkLst>
        <pc:spChg chg="mod">
          <ac:chgData name="Mostafa Atef" userId="864e42d8-5503-4f03-a238-cc8376af15e5" providerId="ADAL" clId="{6810C06B-9863-F34C-A5FD-B2B2B81C9065}" dt="2023-12-04T07:58:15.691" v="653" actId="1076"/>
          <ac:spMkLst>
            <pc:docMk/>
            <pc:sldMk cId="2365713879" sldId="261"/>
            <ac:spMk id="3" creationId="{363F23F9-52C1-1369-C330-3AFB3EE13D97}"/>
          </ac:spMkLst>
        </pc:spChg>
        <pc:spChg chg="mod">
          <ac:chgData name="Mostafa Atef" userId="864e42d8-5503-4f03-a238-cc8376af15e5" providerId="ADAL" clId="{6810C06B-9863-F34C-A5FD-B2B2B81C9065}" dt="2023-12-04T07:53:50.465" v="546"/>
          <ac:spMkLst>
            <pc:docMk/>
            <pc:sldMk cId="2365713879" sldId="261"/>
            <ac:spMk id="7" creationId="{DD5A0313-DCD5-F037-DF9F-A6D40C916B4B}"/>
          </ac:spMkLst>
        </pc:spChg>
        <pc:spChg chg="mod">
          <ac:chgData name="Mostafa Atef" userId="864e42d8-5503-4f03-a238-cc8376af15e5" providerId="ADAL" clId="{6810C06B-9863-F34C-A5FD-B2B2B81C9065}" dt="2023-12-04T07:53:50.465" v="546"/>
          <ac:spMkLst>
            <pc:docMk/>
            <pc:sldMk cId="2365713879" sldId="261"/>
            <ac:spMk id="8" creationId="{1BEEA22F-B3C1-B03F-974C-D566B1C31529}"/>
          </ac:spMkLst>
        </pc:spChg>
        <pc:spChg chg="mod">
          <ac:chgData name="Mostafa Atef" userId="864e42d8-5503-4f03-a238-cc8376af15e5" providerId="ADAL" clId="{6810C06B-9863-F34C-A5FD-B2B2B81C9065}" dt="2023-12-04T07:53:50.465" v="546"/>
          <ac:spMkLst>
            <pc:docMk/>
            <pc:sldMk cId="2365713879" sldId="261"/>
            <ac:spMk id="9" creationId="{88F2BF8E-38FD-29FA-141A-A46F2F49DA2E}"/>
          </ac:spMkLst>
        </pc:spChg>
        <pc:spChg chg="mod">
          <ac:chgData name="Mostafa Atef" userId="864e42d8-5503-4f03-a238-cc8376af15e5" providerId="ADAL" clId="{6810C06B-9863-F34C-A5FD-B2B2B81C9065}" dt="2023-12-04T07:53:50.465" v="546"/>
          <ac:spMkLst>
            <pc:docMk/>
            <pc:sldMk cId="2365713879" sldId="261"/>
            <ac:spMk id="10" creationId="{A2F6CCED-1FAC-0E5B-0C6E-FD35A41A1A4E}"/>
          </ac:spMkLst>
        </pc:spChg>
        <pc:spChg chg="mod">
          <ac:chgData name="Mostafa Atef" userId="864e42d8-5503-4f03-a238-cc8376af15e5" providerId="ADAL" clId="{6810C06B-9863-F34C-A5FD-B2B2B81C9065}" dt="2023-12-04T07:53:50.465" v="546"/>
          <ac:spMkLst>
            <pc:docMk/>
            <pc:sldMk cId="2365713879" sldId="261"/>
            <ac:spMk id="14" creationId="{FA55BD19-1BD9-2598-2F31-50A48A22EF91}"/>
          </ac:spMkLst>
        </pc:spChg>
        <pc:spChg chg="mod">
          <ac:chgData name="Mostafa Atef" userId="864e42d8-5503-4f03-a238-cc8376af15e5" providerId="ADAL" clId="{6810C06B-9863-F34C-A5FD-B2B2B81C9065}" dt="2023-12-04T07:53:50.465" v="546"/>
          <ac:spMkLst>
            <pc:docMk/>
            <pc:sldMk cId="2365713879" sldId="261"/>
            <ac:spMk id="15" creationId="{E2C72B12-1D47-A543-C0DE-2D0EDA36FA22}"/>
          </ac:spMkLst>
        </pc:spChg>
        <pc:spChg chg="mod">
          <ac:chgData name="Mostafa Atef" userId="864e42d8-5503-4f03-a238-cc8376af15e5" providerId="ADAL" clId="{6810C06B-9863-F34C-A5FD-B2B2B81C9065}" dt="2023-12-04T07:58:22.353" v="654" actId="14100"/>
          <ac:spMkLst>
            <pc:docMk/>
            <pc:sldMk cId="2365713879" sldId="261"/>
            <ac:spMk id="16" creationId="{0CA4C5B4-3F5C-3297-01AC-3BD0C4AF6FE7}"/>
          </ac:spMkLst>
        </pc:spChg>
        <pc:spChg chg="mod">
          <ac:chgData name="Mostafa Atef" userId="864e42d8-5503-4f03-a238-cc8376af15e5" providerId="ADAL" clId="{6810C06B-9863-F34C-A5FD-B2B2B81C9065}" dt="2023-12-04T07:53:50.465" v="546"/>
          <ac:spMkLst>
            <pc:docMk/>
            <pc:sldMk cId="2365713879" sldId="261"/>
            <ac:spMk id="17" creationId="{C33E8FEA-9D4A-CE99-C19F-2D72CC2C1A53}"/>
          </ac:spMkLst>
        </pc:spChg>
        <pc:spChg chg="mod">
          <ac:chgData name="Mostafa Atef" userId="864e42d8-5503-4f03-a238-cc8376af15e5" providerId="ADAL" clId="{6810C06B-9863-F34C-A5FD-B2B2B81C9065}" dt="2023-12-04T07:53:50.465" v="546"/>
          <ac:spMkLst>
            <pc:docMk/>
            <pc:sldMk cId="2365713879" sldId="261"/>
            <ac:spMk id="18" creationId="{41F4E2A3-29CA-F2B6-EB99-043D00C3DAF6}"/>
          </ac:spMkLst>
        </pc:spChg>
        <pc:spChg chg="mod">
          <ac:chgData name="Mostafa Atef" userId="864e42d8-5503-4f03-a238-cc8376af15e5" providerId="ADAL" clId="{6810C06B-9863-F34C-A5FD-B2B2B81C9065}" dt="2023-12-04T07:53:50.465" v="546"/>
          <ac:spMkLst>
            <pc:docMk/>
            <pc:sldMk cId="2365713879" sldId="261"/>
            <ac:spMk id="19" creationId="{B8BB1F41-AFCE-2D27-C862-7D59FD46A190}"/>
          </ac:spMkLst>
        </pc:spChg>
        <pc:spChg chg="mod">
          <ac:chgData name="Mostafa Atef" userId="864e42d8-5503-4f03-a238-cc8376af15e5" providerId="ADAL" clId="{6810C06B-9863-F34C-A5FD-B2B2B81C9065}" dt="2023-12-04T07:53:50.465" v="546"/>
          <ac:spMkLst>
            <pc:docMk/>
            <pc:sldMk cId="2365713879" sldId="261"/>
            <ac:spMk id="29" creationId="{F25CF81A-7F28-648A-D316-E97C4EB8DE56}"/>
          </ac:spMkLst>
        </pc:spChg>
        <pc:grpChg chg="add mod">
          <ac:chgData name="Mostafa Atef" userId="864e42d8-5503-4f03-a238-cc8376af15e5" providerId="ADAL" clId="{6810C06B-9863-F34C-A5FD-B2B2B81C9065}" dt="2023-12-04T07:54:00.461" v="550" actId="14100"/>
          <ac:grpSpMkLst>
            <pc:docMk/>
            <pc:sldMk cId="2365713879" sldId="261"/>
            <ac:grpSpMk id="2" creationId="{CA1907C1-F2FE-356D-657B-ED78584D6E9F}"/>
          </ac:grpSpMkLst>
        </pc:grpChg>
        <pc:grpChg chg="mod">
          <ac:chgData name="Mostafa Atef" userId="864e42d8-5503-4f03-a238-cc8376af15e5" providerId="ADAL" clId="{6810C06B-9863-F34C-A5FD-B2B2B81C9065}" dt="2023-12-04T07:53:50.465" v="546"/>
          <ac:grpSpMkLst>
            <pc:docMk/>
            <pc:sldMk cId="2365713879" sldId="261"/>
            <ac:grpSpMk id="13" creationId="{381CE644-21B4-A2B2-5B1A-F80F026D51E3}"/>
          </ac:grpSpMkLst>
        </pc:grpChg>
        <pc:graphicFrameChg chg="mod">
          <ac:chgData name="Mostafa Atef" userId="864e42d8-5503-4f03-a238-cc8376af15e5" providerId="ADAL" clId="{6810C06B-9863-F34C-A5FD-B2B2B81C9065}" dt="2023-12-04T07:55:39.793" v="567" actId="20577"/>
          <ac:graphicFrameMkLst>
            <pc:docMk/>
            <pc:sldMk cId="2365713879" sldId="261"/>
            <ac:graphicFrameMk id="6" creationId="{14B08525-40B0-8D84-C41F-F8E1A3EBC329}"/>
          </ac:graphicFrameMkLst>
        </pc:graphicFrameChg>
        <pc:graphicFrameChg chg="add mod modGraphic">
          <ac:chgData name="Mostafa Atef" userId="864e42d8-5503-4f03-a238-cc8376af15e5" providerId="ADAL" clId="{6810C06B-9863-F34C-A5FD-B2B2B81C9065}" dt="2023-12-04T07:57:51.174" v="652" actId="20577"/>
          <ac:graphicFrameMkLst>
            <pc:docMk/>
            <pc:sldMk cId="2365713879" sldId="261"/>
            <ac:graphicFrameMk id="30" creationId="{6469EA41-259C-5820-D951-F3F922846330}"/>
          </ac:graphicFrameMkLst>
        </pc:graphicFrameChg>
        <pc:picChg chg="mod">
          <ac:chgData name="Mostafa Atef" userId="864e42d8-5503-4f03-a238-cc8376af15e5" providerId="ADAL" clId="{6810C06B-9863-F34C-A5FD-B2B2B81C9065}" dt="2023-12-04T07:53:50.465" v="546"/>
          <ac:picMkLst>
            <pc:docMk/>
            <pc:sldMk cId="2365713879" sldId="261"/>
            <ac:picMk id="11" creationId="{E7EB4AFC-627E-CF93-2983-7AF43BF3F316}"/>
          </ac:picMkLst>
        </pc:picChg>
        <pc:picChg chg="mod">
          <ac:chgData name="Mostafa Atef" userId="864e42d8-5503-4f03-a238-cc8376af15e5" providerId="ADAL" clId="{6810C06B-9863-F34C-A5FD-B2B2B81C9065}" dt="2023-12-04T07:53:50.465" v="546"/>
          <ac:picMkLst>
            <pc:docMk/>
            <pc:sldMk cId="2365713879" sldId="261"/>
            <ac:picMk id="12" creationId="{CFEEBB0E-1467-3595-52E7-6EE518C0CB45}"/>
          </ac:picMkLst>
        </pc:picChg>
        <pc:picChg chg="mod">
          <ac:chgData name="Mostafa Atef" userId="864e42d8-5503-4f03-a238-cc8376af15e5" providerId="ADAL" clId="{6810C06B-9863-F34C-A5FD-B2B2B81C9065}" dt="2023-12-04T07:53:50.465" v="546"/>
          <ac:picMkLst>
            <pc:docMk/>
            <pc:sldMk cId="2365713879" sldId="261"/>
            <ac:picMk id="20" creationId="{EA9B23CD-15E3-92FB-B931-F012D05018D4}"/>
          </ac:picMkLst>
        </pc:picChg>
        <pc:picChg chg="mod">
          <ac:chgData name="Mostafa Atef" userId="864e42d8-5503-4f03-a238-cc8376af15e5" providerId="ADAL" clId="{6810C06B-9863-F34C-A5FD-B2B2B81C9065}" dt="2023-12-04T07:53:50.465" v="546"/>
          <ac:picMkLst>
            <pc:docMk/>
            <pc:sldMk cId="2365713879" sldId="261"/>
            <ac:picMk id="21" creationId="{AEC40776-070B-47FD-7FF2-E23C776ADEE1}"/>
          </ac:picMkLst>
        </pc:picChg>
        <pc:picChg chg="mod">
          <ac:chgData name="Mostafa Atef" userId="864e42d8-5503-4f03-a238-cc8376af15e5" providerId="ADAL" clId="{6810C06B-9863-F34C-A5FD-B2B2B81C9065}" dt="2023-12-04T07:53:50.465" v="546"/>
          <ac:picMkLst>
            <pc:docMk/>
            <pc:sldMk cId="2365713879" sldId="261"/>
            <ac:picMk id="22" creationId="{BAC8259E-FC13-F37A-AB75-CBB3532CC437}"/>
          </ac:picMkLst>
        </pc:picChg>
        <pc:picChg chg="mod">
          <ac:chgData name="Mostafa Atef" userId="864e42d8-5503-4f03-a238-cc8376af15e5" providerId="ADAL" clId="{6810C06B-9863-F34C-A5FD-B2B2B81C9065}" dt="2023-12-04T07:53:50.465" v="546"/>
          <ac:picMkLst>
            <pc:docMk/>
            <pc:sldMk cId="2365713879" sldId="261"/>
            <ac:picMk id="23" creationId="{59EAC443-9282-E057-DFB3-9619CBA04488}"/>
          </ac:picMkLst>
        </pc:picChg>
        <pc:picChg chg="mod">
          <ac:chgData name="Mostafa Atef" userId="864e42d8-5503-4f03-a238-cc8376af15e5" providerId="ADAL" clId="{6810C06B-9863-F34C-A5FD-B2B2B81C9065}" dt="2023-12-04T07:53:50.465" v="546"/>
          <ac:picMkLst>
            <pc:docMk/>
            <pc:sldMk cId="2365713879" sldId="261"/>
            <ac:picMk id="24" creationId="{9E5F044D-A2DD-5A7B-5646-778EE91B3CE7}"/>
          </ac:picMkLst>
        </pc:picChg>
        <pc:picChg chg="mod">
          <ac:chgData name="Mostafa Atef" userId="864e42d8-5503-4f03-a238-cc8376af15e5" providerId="ADAL" clId="{6810C06B-9863-F34C-A5FD-B2B2B81C9065}" dt="2023-12-04T07:53:50.465" v="546"/>
          <ac:picMkLst>
            <pc:docMk/>
            <pc:sldMk cId="2365713879" sldId="261"/>
            <ac:picMk id="25" creationId="{5C37B3A3-A148-17C3-FD92-F31FE9A0ED05}"/>
          </ac:picMkLst>
        </pc:picChg>
        <pc:picChg chg="mod">
          <ac:chgData name="Mostafa Atef" userId="864e42d8-5503-4f03-a238-cc8376af15e5" providerId="ADAL" clId="{6810C06B-9863-F34C-A5FD-B2B2B81C9065}" dt="2023-12-04T07:53:50.465" v="546"/>
          <ac:picMkLst>
            <pc:docMk/>
            <pc:sldMk cId="2365713879" sldId="261"/>
            <ac:picMk id="26" creationId="{47342419-820C-5F9B-9BA9-5677CE212210}"/>
          </ac:picMkLst>
        </pc:picChg>
        <pc:picChg chg="del mod">
          <ac:chgData name="Mostafa Atef" userId="864e42d8-5503-4f03-a238-cc8376af15e5" providerId="ADAL" clId="{6810C06B-9863-F34C-A5FD-B2B2B81C9065}" dt="2023-12-04T07:56:51.001" v="590" actId="478"/>
          <ac:picMkLst>
            <pc:docMk/>
            <pc:sldMk cId="2365713879" sldId="261"/>
            <ac:picMk id="27" creationId="{2385DB32-547E-6887-634A-AEEA24D0A6FB}"/>
          </ac:picMkLst>
        </pc:picChg>
        <pc:picChg chg="mod">
          <ac:chgData name="Mostafa Atef" userId="864e42d8-5503-4f03-a238-cc8376af15e5" providerId="ADAL" clId="{6810C06B-9863-F34C-A5FD-B2B2B81C9065}" dt="2023-12-04T07:53:50.465" v="546"/>
          <ac:picMkLst>
            <pc:docMk/>
            <pc:sldMk cId="2365713879" sldId="261"/>
            <ac:picMk id="28" creationId="{185E577B-D142-E365-0538-2FB60D9C19C0}"/>
          </ac:picMkLst>
        </pc:picChg>
      </pc:sldChg>
      <pc:sldChg chg="addSp delSp modSp add mod ord">
        <pc:chgData name="Mostafa Atef" userId="864e42d8-5503-4f03-a238-cc8376af15e5" providerId="ADAL" clId="{6810C06B-9863-F34C-A5FD-B2B2B81C9065}" dt="2023-12-04T11:23:03.875" v="1644" actId="12100"/>
        <pc:sldMkLst>
          <pc:docMk/>
          <pc:sldMk cId="1839135857" sldId="262"/>
        </pc:sldMkLst>
        <pc:spChg chg="mod">
          <ac:chgData name="Mostafa Atef" userId="864e42d8-5503-4f03-a238-cc8376af15e5" providerId="ADAL" clId="{6810C06B-9863-F34C-A5FD-B2B2B81C9065}" dt="2023-12-04T11:17:23.297" v="1608" actId="404"/>
          <ac:spMkLst>
            <pc:docMk/>
            <pc:sldMk cId="1839135857" sldId="262"/>
            <ac:spMk id="2" creationId="{0CDFA209-B1DB-CAE4-AE3E-DF4EA9070255}"/>
          </ac:spMkLst>
        </pc:spChg>
        <pc:spChg chg="del mod">
          <ac:chgData name="Mostafa Atef" userId="864e42d8-5503-4f03-a238-cc8376af15e5" providerId="ADAL" clId="{6810C06B-9863-F34C-A5FD-B2B2B81C9065}" dt="2023-12-04T07:25:22.255" v="72" actId="12084"/>
          <ac:spMkLst>
            <pc:docMk/>
            <pc:sldMk cId="1839135857" sldId="262"/>
            <ac:spMk id="3" creationId="{697FAB36-77D7-B8D6-B4CD-326DEC3CAF25}"/>
          </ac:spMkLst>
        </pc:spChg>
        <pc:graphicFrameChg chg="add mod modGraphic">
          <ac:chgData name="Mostafa Atef" userId="864e42d8-5503-4f03-a238-cc8376af15e5" providerId="ADAL" clId="{6810C06B-9863-F34C-A5FD-B2B2B81C9065}" dt="2023-12-04T11:23:03.875" v="1644" actId="12100"/>
          <ac:graphicFrameMkLst>
            <pc:docMk/>
            <pc:sldMk cId="1839135857" sldId="262"/>
            <ac:graphicFrameMk id="4" creationId="{848FEE31-1DC4-B6C5-6D60-2833E9852CCA}"/>
          </ac:graphicFrameMkLst>
        </pc:graphicFrameChg>
      </pc:sldChg>
      <pc:sldChg chg="modSp add mod">
        <pc:chgData name="Mostafa Atef" userId="864e42d8-5503-4f03-a238-cc8376af15e5" providerId="ADAL" clId="{6810C06B-9863-F34C-A5FD-B2B2B81C9065}" dt="2023-12-04T11:08:14.544" v="1500"/>
        <pc:sldMkLst>
          <pc:docMk/>
          <pc:sldMk cId="113220289" sldId="263"/>
        </pc:sldMkLst>
        <pc:spChg chg="mod">
          <ac:chgData name="Mostafa Atef" userId="864e42d8-5503-4f03-a238-cc8376af15e5" providerId="ADAL" clId="{6810C06B-9863-F34C-A5FD-B2B2B81C9065}" dt="2023-12-04T11:08:14.544" v="1500"/>
          <ac:spMkLst>
            <pc:docMk/>
            <pc:sldMk cId="113220289" sldId="263"/>
            <ac:spMk id="2" creationId="{0CDFA209-B1DB-CAE4-AE3E-DF4EA9070255}"/>
          </ac:spMkLst>
        </pc:spChg>
        <pc:spChg chg="mod">
          <ac:chgData name="Mostafa Atef" userId="864e42d8-5503-4f03-a238-cc8376af15e5" providerId="ADAL" clId="{6810C06B-9863-F34C-A5FD-B2B2B81C9065}" dt="2023-12-04T07:45:20.763" v="223"/>
          <ac:spMkLst>
            <pc:docMk/>
            <pc:sldMk cId="113220289" sldId="263"/>
            <ac:spMk id="3" creationId="{697FAB36-77D7-B8D6-B4CD-326DEC3CAF25}"/>
          </ac:spMkLst>
        </pc:spChg>
      </pc:sldChg>
      <pc:sldChg chg="addSp delSp modSp add mod modNotesTx">
        <pc:chgData name="Mostafa Atef" userId="864e42d8-5503-4f03-a238-cc8376af15e5" providerId="ADAL" clId="{6810C06B-9863-F34C-A5FD-B2B2B81C9065}" dt="2023-12-04T11:31:09.550" v="1785" actId="20577"/>
        <pc:sldMkLst>
          <pc:docMk/>
          <pc:sldMk cId="4042107394" sldId="264"/>
        </pc:sldMkLst>
        <pc:spChg chg="mod">
          <ac:chgData name="Mostafa Atef" userId="864e42d8-5503-4f03-a238-cc8376af15e5" providerId="ADAL" clId="{6810C06B-9863-F34C-A5FD-B2B2B81C9065}" dt="2023-12-04T11:14:06.382" v="1558" actId="207"/>
          <ac:spMkLst>
            <pc:docMk/>
            <pc:sldMk cId="4042107394" sldId="264"/>
            <ac:spMk id="3" creationId="{363F23F9-52C1-1369-C330-3AFB3EE13D97}"/>
          </ac:spMkLst>
        </pc:spChg>
        <pc:spChg chg="mod">
          <ac:chgData name="Mostafa Atef" userId="864e42d8-5503-4f03-a238-cc8376af15e5" providerId="ADAL" clId="{6810C06B-9863-F34C-A5FD-B2B2B81C9065}" dt="2023-12-04T11:25:04.965" v="1658"/>
          <ac:spMkLst>
            <pc:docMk/>
            <pc:sldMk cId="4042107394" sldId="264"/>
            <ac:spMk id="4" creationId="{E649F9E9-A699-A368-E911-9BA7476EC56E}"/>
          </ac:spMkLst>
        </pc:spChg>
        <pc:spChg chg="mod">
          <ac:chgData name="Mostafa Atef" userId="864e42d8-5503-4f03-a238-cc8376af15e5" providerId="ADAL" clId="{6810C06B-9863-F34C-A5FD-B2B2B81C9065}" dt="2023-12-04T11:23:45.085" v="1655" actId="403"/>
          <ac:spMkLst>
            <pc:docMk/>
            <pc:sldMk cId="4042107394" sldId="264"/>
            <ac:spMk id="5" creationId="{82C97119-43A5-D1A7-87B4-BC6D498CD693}"/>
          </ac:spMkLst>
        </pc:spChg>
        <pc:spChg chg="del">
          <ac:chgData name="Mostafa Atef" userId="864e42d8-5503-4f03-a238-cc8376af15e5" providerId="ADAL" clId="{6810C06B-9863-F34C-A5FD-B2B2B81C9065}" dt="2023-12-04T08:08:02.354" v="757" actId="478"/>
          <ac:spMkLst>
            <pc:docMk/>
            <pc:sldMk cId="4042107394" sldId="264"/>
            <ac:spMk id="7" creationId="{DD5A0313-DCD5-F037-DF9F-A6D40C916B4B}"/>
          </ac:spMkLst>
        </pc:spChg>
        <pc:spChg chg="mod">
          <ac:chgData name="Mostafa Atef" userId="864e42d8-5503-4f03-a238-cc8376af15e5" providerId="ADAL" clId="{6810C06B-9863-F34C-A5FD-B2B2B81C9065}" dt="2023-12-04T11:31:09.550" v="1785" actId="20577"/>
          <ac:spMkLst>
            <pc:docMk/>
            <pc:sldMk cId="4042107394" sldId="264"/>
            <ac:spMk id="8" creationId="{1BEEA22F-B3C1-B03F-974C-D566B1C31529}"/>
          </ac:spMkLst>
        </pc:spChg>
        <pc:spChg chg="del">
          <ac:chgData name="Mostafa Atef" userId="864e42d8-5503-4f03-a238-cc8376af15e5" providerId="ADAL" clId="{6810C06B-9863-F34C-A5FD-B2B2B81C9065}" dt="2023-12-04T08:08:05.697" v="759" actId="478"/>
          <ac:spMkLst>
            <pc:docMk/>
            <pc:sldMk cId="4042107394" sldId="264"/>
            <ac:spMk id="9" creationId="{88F2BF8E-38FD-29FA-141A-A46F2F49DA2E}"/>
          </ac:spMkLst>
        </pc:spChg>
        <pc:spChg chg="del">
          <ac:chgData name="Mostafa Atef" userId="864e42d8-5503-4f03-a238-cc8376af15e5" providerId="ADAL" clId="{6810C06B-9863-F34C-A5FD-B2B2B81C9065}" dt="2023-12-04T08:08:07.489" v="760" actId="478"/>
          <ac:spMkLst>
            <pc:docMk/>
            <pc:sldMk cId="4042107394" sldId="264"/>
            <ac:spMk id="10" creationId="{A2F6CCED-1FAC-0E5B-0C6E-FD35A41A1A4E}"/>
          </ac:spMkLst>
        </pc:spChg>
        <pc:spChg chg="del">
          <ac:chgData name="Mostafa Atef" userId="864e42d8-5503-4f03-a238-cc8376af15e5" providerId="ADAL" clId="{6810C06B-9863-F34C-A5FD-B2B2B81C9065}" dt="2023-12-04T08:08:25.780" v="764" actId="478"/>
          <ac:spMkLst>
            <pc:docMk/>
            <pc:sldMk cId="4042107394" sldId="264"/>
            <ac:spMk id="14" creationId="{FA55BD19-1BD9-2598-2F31-50A48A22EF91}"/>
          </ac:spMkLst>
        </pc:spChg>
        <pc:spChg chg="del">
          <ac:chgData name="Mostafa Atef" userId="864e42d8-5503-4f03-a238-cc8376af15e5" providerId="ADAL" clId="{6810C06B-9863-F34C-A5FD-B2B2B81C9065}" dt="2023-12-04T08:08:40.975" v="770" actId="478"/>
          <ac:spMkLst>
            <pc:docMk/>
            <pc:sldMk cId="4042107394" sldId="264"/>
            <ac:spMk id="15" creationId="{E2C72B12-1D47-A543-C0DE-2D0EDA36FA22}"/>
          </ac:spMkLst>
        </pc:spChg>
        <pc:spChg chg="mod">
          <ac:chgData name="Mostafa Atef" userId="864e42d8-5503-4f03-a238-cc8376af15e5" providerId="ADAL" clId="{6810C06B-9863-F34C-A5FD-B2B2B81C9065}" dt="2023-12-04T11:15:11.571" v="1568" actId="207"/>
          <ac:spMkLst>
            <pc:docMk/>
            <pc:sldMk cId="4042107394" sldId="264"/>
            <ac:spMk id="16" creationId="{0CA4C5B4-3F5C-3297-01AC-3BD0C4AF6FE7}"/>
          </ac:spMkLst>
        </pc:spChg>
        <pc:spChg chg="del">
          <ac:chgData name="Mostafa Atef" userId="864e42d8-5503-4f03-a238-cc8376af15e5" providerId="ADAL" clId="{6810C06B-9863-F34C-A5FD-B2B2B81C9065}" dt="2023-12-04T08:08:17.232" v="762" actId="478"/>
          <ac:spMkLst>
            <pc:docMk/>
            <pc:sldMk cId="4042107394" sldId="264"/>
            <ac:spMk id="17" creationId="{C33E8FEA-9D4A-CE99-C19F-2D72CC2C1A53}"/>
          </ac:spMkLst>
        </pc:spChg>
        <pc:spChg chg="del">
          <ac:chgData name="Mostafa Atef" userId="864e42d8-5503-4f03-a238-cc8376af15e5" providerId="ADAL" clId="{6810C06B-9863-F34C-A5FD-B2B2B81C9065}" dt="2023-12-04T08:08:21.080" v="763" actId="478"/>
          <ac:spMkLst>
            <pc:docMk/>
            <pc:sldMk cId="4042107394" sldId="264"/>
            <ac:spMk id="18" creationId="{41F4E2A3-29CA-F2B6-EB99-043D00C3DAF6}"/>
          </ac:spMkLst>
        </pc:spChg>
        <pc:spChg chg="del">
          <ac:chgData name="Mostafa Atef" userId="864e42d8-5503-4f03-a238-cc8376af15e5" providerId="ADAL" clId="{6810C06B-9863-F34C-A5FD-B2B2B81C9065}" dt="2023-12-04T08:07:57.574" v="756" actId="478"/>
          <ac:spMkLst>
            <pc:docMk/>
            <pc:sldMk cId="4042107394" sldId="264"/>
            <ac:spMk id="19" creationId="{B8BB1F41-AFCE-2D27-C862-7D59FD46A190}"/>
          </ac:spMkLst>
        </pc:spChg>
        <pc:spChg chg="mod">
          <ac:chgData name="Mostafa Atef" userId="864e42d8-5503-4f03-a238-cc8376af15e5" providerId="ADAL" clId="{6810C06B-9863-F34C-A5FD-B2B2B81C9065}" dt="2023-12-04T11:16:44.591" v="1579" actId="207"/>
          <ac:spMkLst>
            <pc:docMk/>
            <pc:sldMk cId="4042107394" sldId="264"/>
            <ac:spMk id="29" creationId="{F25CF81A-7F28-648A-D316-E97C4EB8DE56}"/>
          </ac:spMkLst>
        </pc:spChg>
        <pc:spChg chg="add mod">
          <ac:chgData name="Mostafa Atef" userId="864e42d8-5503-4f03-a238-cc8376af15e5" providerId="ADAL" clId="{6810C06B-9863-F34C-A5FD-B2B2B81C9065}" dt="2023-12-04T11:15:49.947" v="1573" actId="207"/>
          <ac:spMkLst>
            <pc:docMk/>
            <pc:sldMk cId="4042107394" sldId="264"/>
            <ac:spMk id="31" creationId="{AC721C4D-46AA-387B-FB30-4D6374EE560E}"/>
          </ac:spMkLst>
        </pc:spChg>
        <pc:grpChg chg="mod">
          <ac:chgData name="Mostafa Atef" userId="864e42d8-5503-4f03-a238-cc8376af15e5" providerId="ADAL" clId="{6810C06B-9863-F34C-A5FD-B2B2B81C9065}" dt="2023-12-04T11:14:42.854" v="1563" actId="207"/>
          <ac:grpSpMkLst>
            <pc:docMk/>
            <pc:sldMk cId="4042107394" sldId="264"/>
            <ac:grpSpMk id="2" creationId="{CA1907C1-F2FE-356D-657B-ED78584D6E9F}"/>
          </ac:grpSpMkLst>
        </pc:grpChg>
        <pc:grpChg chg="mod">
          <ac:chgData name="Mostafa Atef" userId="864e42d8-5503-4f03-a238-cc8376af15e5" providerId="ADAL" clId="{6810C06B-9863-F34C-A5FD-B2B2B81C9065}" dt="2023-12-04T08:20:39.499" v="970" actId="164"/>
          <ac:grpSpMkLst>
            <pc:docMk/>
            <pc:sldMk cId="4042107394" sldId="264"/>
            <ac:grpSpMk id="13" creationId="{381CE644-21B4-A2B2-5B1A-F80F026D51E3}"/>
          </ac:grpSpMkLst>
        </pc:grpChg>
        <pc:grpChg chg="add mod">
          <ac:chgData name="Mostafa Atef" userId="864e42d8-5503-4f03-a238-cc8376af15e5" providerId="ADAL" clId="{6810C06B-9863-F34C-A5FD-B2B2B81C9065}" dt="2023-12-04T08:20:39.499" v="970" actId="164"/>
          <ac:grpSpMkLst>
            <pc:docMk/>
            <pc:sldMk cId="4042107394" sldId="264"/>
            <ac:grpSpMk id="39" creationId="{A63C8463-649A-9568-1DA1-69BAEAB09CD6}"/>
          </ac:grpSpMkLst>
        </pc:grpChg>
        <pc:graphicFrameChg chg="mod">
          <ac:chgData name="Mostafa Atef" userId="864e42d8-5503-4f03-a238-cc8376af15e5" providerId="ADAL" clId="{6810C06B-9863-F34C-A5FD-B2B2B81C9065}" dt="2023-12-04T11:14:50.707" v="1564" actId="207"/>
          <ac:graphicFrameMkLst>
            <pc:docMk/>
            <pc:sldMk cId="4042107394" sldId="264"/>
            <ac:graphicFrameMk id="6" creationId="{14B08525-40B0-8D84-C41F-F8E1A3EBC329}"/>
          </ac:graphicFrameMkLst>
        </pc:graphicFrameChg>
        <pc:graphicFrameChg chg="add mod">
          <ac:chgData name="Mostafa Atef" userId="864e42d8-5503-4f03-a238-cc8376af15e5" providerId="ADAL" clId="{6810C06B-9863-F34C-A5FD-B2B2B81C9065}" dt="2023-12-04T11:15:00.272" v="1567" actId="207"/>
          <ac:graphicFrameMkLst>
            <pc:docMk/>
            <pc:sldMk cId="4042107394" sldId="264"/>
            <ac:graphicFrameMk id="27" creationId="{FA4D516E-5C69-E5E9-5A12-92EE1E24B5FC}"/>
          </ac:graphicFrameMkLst>
        </pc:graphicFrameChg>
        <pc:graphicFrameChg chg="mod modGraphic">
          <ac:chgData name="Mostafa Atef" userId="864e42d8-5503-4f03-a238-cc8376af15e5" providerId="ADAL" clId="{6810C06B-9863-F34C-A5FD-B2B2B81C9065}" dt="2023-12-04T11:15:37.119" v="1571" actId="207"/>
          <ac:graphicFrameMkLst>
            <pc:docMk/>
            <pc:sldMk cId="4042107394" sldId="264"/>
            <ac:graphicFrameMk id="30" creationId="{6469EA41-259C-5820-D951-F3F922846330}"/>
          </ac:graphicFrameMkLst>
        </pc:graphicFrameChg>
        <pc:graphicFrameChg chg="add mod">
          <ac:chgData name="Mostafa Atef" userId="864e42d8-5503-4f03-a238-cc8376af15e5" providerId="ADAL" clId="{6810C06B-9863-F34C-A5FD-B2B2B81C9065}" dt="2023-12-04T11:16:05.222" v="1576" actId="207"/>
          <ac:graphicFrameMkLst>
            <pc:docMk/>
            <pc:sldMk cId="4042107394" sldId="264"/>
            <ac:graphicFrameMk id="32" creationId="{4B877E42-7320-0921-763C-FD9CAE871513}"/>
          </ac:graphicFrameMkLst>
        </pc:graphicFrameChg>
        <pc:picChg chg="del">
          <ac:chgData name="Mostafa Atef" userId="864e42d8-5503-4f03-a238-cc8376af15e5" providerId="ADAL" clId="{6810C06B-9863-F34C-A5FD-B2B2B81C9065}" dt="2023-12-04T08:11:58.966" v="840" actId="478"/>
          <ac:picMkLst>
            <pc:docMk/>
            <pc:sldMk cId="4042107394" sldId="264"/>
            <ac:picMk id="11" creationId="{E7EB4AFC-627E-CF93-2983-7AF43BF3F316}"/>
          </ac:picMkLst>
        </pc:picChg>
        <pc:picChg chg="del">
          <ac:chgData name="Mostafa Atef" userId="864e42d8-5503-4f03-a238-cc8376af15e5" providerId="ADAL" clId="{6810C06B-9863-F34C-A5FD-B2B2B81C9065}" dt="2023-12-04T08:11:53.615" v="839" actId="478"/>
          <ac:picMkLst>
            <pc:docMk/>
            <pc:sldMk cId="4042107394" sldId="264"/>
            <ac:picMk id="12" creationId="{CFEEBB0E-1467-3595-52E7-6EE518C0CB45}"/>
          </ac:picMkLst>
        </pc:picChg>
        <pc:picChg chg="del">
          <ac:chgData name="Mostafa Atef" userId="864e42d8-5503-4f03-a238-cc8376af15e5" providerId="ADAL" clId="{6810C06B-9863-F34C-A5FD-B2B2B81C9065}" dt="2023-12-04T08:08:39.500" v="769" actId="478"/>
          <ac:picMkLst>
            <pc:docMk/>
            <pc:sldMk cId="4042107394" sldId="264"/>
            <ac:picMk id="20" creationId="{EA9B23CD-15E3-92FB-B931-F012D05018D4}"/>
          </ac:picMkLst>
        </pc:picChg>
        <pc:picChg chg="del">
          <ac:chgData name="Mostafa Atef" userId="864e42d8-5503-4f03-a238-cc8376af15e5" providerId="ADAL" clId="{6810C06B-9863-F34C-A5FD-B2B2B81C9065}" dt="2023-12-04T08:08:29.495" v="765" actId="478"/>
          <ac:picMkLst>
            <pc:docMk/>
            <pc:sldMk cId="4042107394" sldId="264"/>
            <ac:picMk id="21" creationId="{AEC40776-070B-47FD-7FF2-E23C776ADEE1}"/>
          </ac:picMkLst>
        </pc:picChg>
        <pc:picChg chg="del">
          <ac:chgData name="Mostafa Atef" userId="864e42d8-5503-4f03-a238-cc8376af15e5" providerId="ADAL" clId="{6810C06B-9863-F34C-A5FD-B2B2B81C9065}" dt="2023-12-04T08:08:37.068" v="768" actId="478"/>
          <ac:picMkLst>
            <pc:docMk/>
            <pc:sldMk cId="4042107394" sldId="264"/>
            <ac:picMk id="22" creationId="{BAC8259E-FC13-F37A-AB75-CBB3532CC437}"/>
          </ac:picMkLst>
        </pc:picChg>
        <pc:picChg chg="del">
          <ac:chgData name="Mostafa Atef" userId="864e42d8-5503-4f03-a238-cc8376af15e5" providerId="ADAL" clId="{6810C06B-9863-F34C-A5FD-B2B2B81C9065}" dt="2023-12-04T08:08:32.113" v="766" actId="478"/>
          <ac:picMkLst>
            <pc:docMk/>
            <pc:sldMk cId="4042107394" sldId="264"/>
            <ac:picMk id="23" creationId="{59EAC443-9282-E057-DFB3-9619CBA04488}"/>
          </ac:picMkLst>
        </pc:picChg>
        <pc:picChg chg="del">
          <ac:chgData name="Mostafa Atef" userId="864e42d8-5503-4f03-a238-cc8376af15e5" providerId="ADAL" clId="{6810C06B-9863-F34C-A5FD-B2B2B81C9065}" dt="2023-12-04T08:08:34.265" v="767" actId="478"/>
          <ac:picMkLst>
            <pc:docMk/>
            <pc:sldMk cId="4042107394" sldId="264"/>
            <ac:picMk id="24" creationId="{9E5F044D-A2DD-5A7B-5646-778EE91B3CE7}"/>
          </ac:picMkLst>
        </pc:picChg>
        <pc:picChg chg="del">
          <ac:chgData name="Mostafa Atef" userId="864e42d8-5503-4f03-a238-cc8376af15e5" providerId="ADAL" clId="{6810C06B-9863-F34C-A5FD-B2B2B81C9065}" dt="2023-12-04T08:08:04.423" v="758" actId="478"/>
          <ac:picMkLst>
            <pc:docMk/>
            <pc:sldMk cId="4042107394" sldId="264"/>
            <ac:picMk id="25" creationId="{5C37B3A3-A148-17C3-FD92-F31FE9A0ED05}"/>
          </ac:picMkLst>
        </pc:picChg>
        <pc:picChg chg="del">
          <ac:chgData name="Mostafa Atef" userId="864e42d8-5503-4f03-a238-cc8376af15e5" providerId="ADAL" clId="{6810C06B-9863-F34C-A5FD-B2B2B81C9065}" dt="2023-12-04T08:08:09.834" v="761" actId="478"/>
          <ac:picMkLst>
            <pc:docMk/>
            <pc:sldMk cId="4042107394" sldId="264"/>
            <ac:picMk id="26" creationId="{47342419-820C-5F9B-9BA9-5677CE212210}"/>
          </ac:picMkLst>
        </pc:picChg>
        <pc:picChg chg="mod">
          <ac:chgData name="Mostafa Atef" userId="864e42d8-5503-4f03-a238-cc8376af15e5" providerId="ADAL" clId="{6810C06B-9863-F34C-A5FD-B2B2B81C9065}" dt="2023-12-04T10:37:42.542" v="1241" actId="14100"/>
          <ac:picMkLst>
            <pc:docMk/>
            <pc:sldMk cId="4042107394" sldId="264"/>
            <ac:picMk id="28" creationId="{185E577B-D142-E365-0538-2FB60D9C19C0}"/>
          </ac:picMkLst>
        </pc:picChg>
        <pc:picChg chg="add mod">
          <ac:chgData name="Mostafa Atef" userId="864e42d8-5503-4f03-a238-cc8376af15e5" providerId="ADAL" clId="{6810C06B-9863-F34C-A5FD-B2B2B81C9065}" dt="2023-12-04T10:54:19.604" v="1478" actId="1076"/>
          <ac:picMkLst>
            <pc:docMk/>
            <pc:sldMk cId="4042107394" sldId="264"/>
            <ac:picMk id="34" creationId="{FF07CEF8-B734-06C8-4D33-209D0EF0DAA9}"/>
          </ac:picMkLst>
        </pc:picChg>
        <pc:picChg chg="add mod">
          <ac:chgData name="Mostafa Atef" userId="864e42d8-5503-4f03-a238-cc8376af15e5" providerId="ADAL" clId="{6810C06B-9863-F34C-A5FD-B2B2B81C9065}" dt="2023-12-04T10:54:19.604" v="1478" actId="1076"/>
          <ac:picMkLst>
            <pc:docMk/>
            <pc:sldMk cId="4042107394" sldId="264"/>
            <ac:picMk id="36" creationId="{7D653CB1-E4F1-6F0F-58B3-698E41D16A42}"/>
          </ac:picMkLst>
        </pc:picChg>
        <pc:picChg chg="add mod">
          <ac:chgData name="Mostafa Atef" userId="864e42d8-5503-4f03-a238-cc8376af15e5" providerId="ADAL" clId="{6810C06B-9863-F34C-A5FD-B2B2B81C9065}" dt="2023-12-04T10:54:35.049" v="1492" actId="1038"/>
          <ac:picMkLst>
            <pc:docMk/>
            <pc:sldMk cId="4042107394" sldId="264"/>
            <ac:picMk id="38" creationId="{F4CA17ED-B63F-B6F1-0E21-02C8C04462AD}"/>
          </ac:picMkLst>
        </pc:picChg>
      </pc:sldChg>
      <pc:sldChg chg="add">
        <pc:chgData name="Mostafa Atef" userId="864e42d8-5503-4f03-a238-cc8376af15e5" providerId="ADAL" clId="{6810C06B-9863-F34C-A5FD-B2B2B81C9065}" dt="2023-12-04T11:24:57.941" v="1657" actId="2890"/>
        <pc:sldMkLst>
          <pc:docMk/>
          <pc:sldMk cId="2323002211" sldId="265"/>
        </pc:sldMkLst>
      </pc:sldChg>
      <pc:sldChg chg="modSp add mod">
        <pc:chgData name="Mostafa Atef" userId="864e42d8-5503-4f03-a238-cc8376af15e5" providerId="ADAL" clId="{6810C06B-9863-F34C-A5FD-B2B2B81C9065}" dt="2023-12-04T11:26:29.369" v="1707" actId="20577"/>
        <pc:sldMkLst>
          <pc:docMk/>
          <pc:sldMk cId="1228873809" sldId="266"/>
        </pc:sldMkLst>
        <pc:spChg chg="mod">
          <ac:chgData name="Mostafa Atef" userId="864e42d8-5503-4f03-a238-cc8376af15e5" providerId="ADAL" clId="{6810C06B-9863-F34C-A5FD-B2B2B81C9065}" dt="2023-12-04T11:26:29.369" v="1707" actId="20577"/>
          <ac:spMkLst>
            <pc:docMk/>
            <pc:sldMk cId="1228873809" sldId="266"/>
            <ac:spMk id="3" creationId="{697FAB36-77D7-B8D6-B4CD-326DEC3CAF25}"/>
          </ac:spMkLst>
        </pc:spChg>
      </pc:sldChg>
      <pc:sldChg chg="modSp add mod">
        <pc:chgData name="Mostafa Atef" userId="864e42d8-5503-4f03-a238-cc8376af15e5" providerId="ADAL" clId="{6810C06B-9863-F34C-A5FD-B2B2B81C9065}" dt="2023-12-04T11:29:00.964" v="1758" actId="20577"/>
        <pc:sldMkLst>
          <pc:docMk/>
          <pc:sldMk cId="4046843283" sldId="267"/>
        </pc:sldMkLst>
        <pc:spChg chg="mod">
          <ac:chgData name="Mostafa Atef" userId="864e42d8-5503-4f03-a238-cc8376af15e5" providerId="ADAL" clId="{6810C06B-9863-F34C-A5FD-B2B2B81C9065}" dt="2023-12-04T11:29:00.964" v="1758" actId="20577"/>
          <ac:spMkLst>
            <pc:docMk/>
            <pc:sldMk cId="4046843283" sldId="267"/>
            <ac:spMk id="3" creationId="{697FAB36-77D7-B8D6-B4CD-326DEC3CAF25}"/>
          </ac:spMkLst>
        </pc:spChg>
      </pc:sldChg>
      <pc:sldChg chg="modSp add mod">
        <pc:chgData name="Mostafa Atef" userId="864e42d8-5503-4f03-a238-cc8376af15e5" providerId="ADAL" clId="{6810C06B-9863-F34C-A5FD-B2B2B81C9065}" dt="2023-12-04T11:32:35.701" v="1812" actId="20577"/>
        <pc:sldMkLst>
          <pc:docMk/>
          <pc:sldMk cId="3884410181" sldId="268"/>
        </pc:sldMkLst>
        <pc:spChg chg="mod">
          <ac:chgData name="Mostafa Atef" userId="864e42d8-5503-4f03-a238-cc8376af15e5" providerId="ADAL" clId="{6810C06B-9863-F34C-A5FD-B2B2B81C9065}" dt="2023-12-04T11:32:35.701" v="1812" actId="20577"/>
          <ac:spMkLst>
            <pc:docMk/>
            <pc:sldMk cId="3884410181" sldId="268"/>
            <ac:spMk id="3" creationId="{697FAB36-77D7-B8D6-B4CD-326DEC3CAF25}"/>
          </ac:spMkLst>
        </pc:spChg>
      </pc:sldChg>
      <pc:sldChg chg="modSp add mod">
        <pc:chgData name="Mostafa Atef" userId="864e42d8-5503-4f03-a238-cc8376af15e5" providerId="ADAL" clId="{6810C06B-9863-F34C-A5FD-B2B2B81C9065}" dt="2023-12-04T12:09:21.811" v="1905" actId="20577"/>
        <pc:sldMkLst>
          <pc:docMk/>
          <pc:sldMk cId="672348297" sldId="269"/>
        </pc:sldMkLst>
        <pc:spChg chg="mod">
          <ac:chgData name="Mostafa Atef" userId="864e42d8-5503-4f03-a238-cc8376af15e5" providerId="ADAL" clId="{6810C06B-9863-F34C-A5FD-B2B2B81C9065}" dt="2023-12-04T12:09:21.811" v="1905" actId="20577"/>
          <ac:spMkLst>
            <pc:docMk/>
            <pc:sldMk cId="672348297" sldId="269"/>
            <ac:spMk id="3" creationId="{697FAB36-77D7-B8D6-B4CD-326DEC3CAF25}"/>
          </ac:spMkLst>
        </pc:spChg>
      </pc:sldChg>
    </pc:docChg>
  </pc:docChgLst>
</pc:chgInfo>
</file>

<file path=ppt/diagrams/_rels/data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iagrams/_rels/drawing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FF2AB89-7A88-CD43-B81E-D95DC8660F87}" type="doc">
      <dgm:prSet loTypeId="urn:microsoft.com/office/officeart/2005/8/layout/lProcess3" loCatId="process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17FF71B1-0297-2E49-BBD6-ABA46E8B57EF}">
      <dgm:prSet/>
      <dgm:spPr/>
      <dgm:t>
        <a:bodyPr/>
        <a:lstStyle/>
        <a:p>
          <a:r>
            <a:rPr lang="en-US" b="0"/>
            <a:t>Assessment Plan: </a:t>
          </a:r>
          <a:endParaRPr lang="en-SA"/>
        </a:p>
      </dgm:t>
    </dgm:pt>
    <dgm:pt modelId="{11BE707B-9001-804C-8AAF-954A4F2129D8}" type="parTrans" cxnId="{9B5F75BE-6EA4-5C49-9C7E-01EDCAD4BFEA}">
      <dgm:prSet/>
      <dgm:spPr/>
      <dgm:t>
        <a:bodyPr/>
        <a:lstStyle/>
        <a:p>
          <a:endParaRPr lang="en-US"/>
        </a:p>
      </dgm:t>
    </dgm:pt>
    <dgm:pt modelId="{97E79FE0-874D-5B42-98E6-878F2801DAAF}" type="sibTrans" cxnId="{9B5F75BE-6EA4-5C49-9C7E-01EDCAD4BFEA}">
      <dgm:prSet/>
      <dgm:spPr/>
      <dgm:t>
        <a:bodyPr/>
        <a:lstStyle/>
        <a:p>
          <a:endParaRPr lang="en-US"/>
        </a:p>
      </dgm:t>
    </dgm:pt>
    <dgm:pt modelId="{B73F9E49-5837-5E41-82F5-A1ABAB9399DC}">
      <dgm:prSet/>
      <dgm:spPr/>
      <dgm:t>
        <a:bodyPr/>
        <a:lstStyle/>
        <a:p>
          <a:r>
            <a:rPr lang="en-US" dirty="0"/>
            <a:t>A detailed plan outlining the scope, objectives, methodology, and timeline of the assessment.</a:t>
          </a:r>
          <a:endParaRPr lang="en-SA" dirty="0"/>
        </a:p>
      </dgm:t>
    </dgm:pt>
    <dgm:pt modelId="{92640AA1-740E-5145-A797-1E306735C635}" type="parTrans" cxnId="{9B61143E-78A7-9D48-9A7E-0536D1009200}">
      <dgm:prSet/>
      <dgm:spPr/>
      <dgm:t>
        <a:bodyPr/>
        <a:lstStyle/>
        <a:p>
          <a:endParaRPr lang="en-US"/>
        </a:p>
      </dgm:t>
    </dgm:pt>
    <dgm:pt modelId="{C4D8ADA5-1F47-B248-BF49-37D7AF3602C6}" type="sibTrans" cxnId="{9B61143E-78A7-9D48-9A7E-0536D1009200}">
      <dgm:prSet/>
      <dgm:spPr/>
      <dgm:t>
        <a:bodyPr/>
        <a:lstStyle/>
        <a:p>
          <a:endParaRPr lang="en-US"/>
        </a:p>
      </dgm:t>
    </dgm:pt>
    <dgm:pt modelId="{A2EC618C-B04A-5B48-82A6-B574E693B9E1}">
      <dgm:prSet/>
      <dgm:spPr/>
      <dgm:t>
        <a:bodyPr/>
        <a:lstStyle/>
        <a:p>
          <a:r>
            <a:rPr lang="en-US" b="0" dirty="0"/>
            <a:t>Maturity Assessment Report: </a:t>
          </a:r>
          <a:endParaRPr lang="en-SA" dirty="0"/>
        </a:p>
      </dgm:t>
    </dgm:pt>
    <dgm:pt modelId="{914AEBDD-9556-EB45-B56D-ACD60158FC50}" type="parTrans" cxnId="{33E9DAB0-CFD5-C141-AC0E-4BFABE2AF004}">
      <dgm:prSet/>
      <dgm:spPr/>
      <dgm:t>
        <a:bodyPr/>
        <a:lstStyle/>
        <a:p>
          <a:endParaRPr lang="en-US"/>
        </a:p>
      </dgm:t>
    </dgm:pt>
    <dgm:pt modelId="{2D0520A7-CCB2-794A-92A0-EEB4AFD7F03A}" type="sibTrans" cxnId="{33E9DAB0-CFD5-C141-AC0E-4BFABE2AF004}">
      <dgm:prSet/>
      <dgm:spPr/>
      <dgm:t>
        <a:bodyPr/>
        <a:lstStyle/>
        <a:p>
          <a:endParaRPr lang="en-US"/>
        </a:p>
      </dgm:t>
    </dgm:pt>
    <dgm:pt modelId="{7AE4B25D-51EE-3045-B540-609412E689EA}">
      <dgm:prSet/>
      <dgm:spPr/>
      <dgm:t>
        <a:bodyPr/>
        <a:lstStyle/>
        <a:p>
          <a:r>
            <a:rPr lang="en-US"/>
            <a:t>A comprehensive report summarizing the assessment findings, including maturity level determination, gap analysis, and recommendations.</a:t>
          </a:r>
          <a:endParaRPr lang="en-SA"/>
        </a:p>
      </dgm:t>
    </dgm:pt>
    <dgm:pt modelId="{35541CDF-C86E-2345-9F7F-E7D4E67DD447}" type="parTrans" cxnId="{3839041D-5094-6640-98A0-A3AC26E3EB35}">
      <dgm:prSet/>
      <dgm:spPr/>
      <dgm:t>
        <a:bodyPr/>
        <a:lstStyle/>
        <a:p>
          <a:endParaRPr lang="en-US"/>
        </a:p>
      </dgm:t>
    </dgm:pt>
    <dgm:pt modelId="{CD57C6DF-666A-8E4B-8C0C-4F80EEE910AA}" type="sibTrans" cxnId="{3839041D-5094-6640-98A0-A3AC26E3EB35}">
      <dgm:prSet/>
      <dgm:spPr/>
      <dgm:t>
        <a:bodyPr/>
        <a:lstStyle/>
        <a:p>
          <a:endParaRPr lang="en-US"/>
        </a:p>
      </dgm:t>
    </dgm:pt>
    <dgm:pt modelId="{80F63366-A15E-0A4C-94D2-1CC1FC783568}">
      <dgm:prSet/>
      <dgm:spPr/>
      <dgm:t>
        <a:bodyPr/>
        <a:lstStyle/>
        <a:p>
          <a:r>
            <a:rPr lang="en-US" b="0"/>
            <a:t>Implementation Roadmap:</a:t>
          </a:r>
          <a:endParaRPr lang="en-SA"/>
        </a:p>
      </dgm:t>
    </dgm:pt>
    <dgm:pt modelId="{8657F462-747E-BE4D-856A-14543731E45E}" type="parTrans" cxnId="{97C28945-7B58-554A-9CA4-AAF85E6D5931}">
      <dgm:prSet/>
      <dgm:spPr/>
      <dgm:t>
        <a:bodyPr/>
        <a:lstStyle/>
        <a:p>
          <a:endParaRPr lang="en-US"/>
        </a:p>
      </dgm:t>
    </dgm:pt>
    <dgm:pt modelId="{30B01620-0312-B943-B852-F252A1D6BA3F}" type="sibTrans" cxnId="{97C28945-7B58-554A-9CA4-AAF85E6D5931}">
      <dgm:prSet/>
      <dgm:spPr/>
      <dgm:t>
        <a:bodyPr/>
        <a:lstStyle/>
        <a:p>
          <a:endParaRPr lang="en-US"/>
        </a:p>
      </dgm:t>
    </dgm:pt>
    <dgm:pt modelId="{07CF6209-12D1-3B4D-80C6-F9801161618A}">
      <dgm:prSet/>
      <dgm:spPr/>
      <dgm:t>
        <a:bodyPr/>
        <a:lstStyle/>
        <a:p>
          <a:r>
            <a:rPr lang="en-US"/>
            <a:t>A roadmap detailing the steps and timelines for implementing the recommended improvements</a:t>
          </a:r>
          <a:endParaRPr lang="en-SA"/>
        </a:p>
      </dgm:t>
    </dgm:pt>
    <dgm:pt modelId="{B4EE91EA-1DD1-E540-801B-9845A778C0A0}" type="parTrans" cxnId="{4327C822-EFC3-3347-B482-3947A9EE83B5}">
      <dgm:prSet/>
      <dgm:spPr/>
      <dgm:t>
        <a:bodyPr/>
        <a:lstStyle/>
        <a:p>
          <a:endParaRPr lang="en-US"/>
        </a:p>
      </dgm:t>
    </dgm:pt>
    <dgm:pt modelId="{3CFE81DB-2772-914D-A42D-412A2F2C9EB4}" type="sibTrans" cxnId="{4327C822-EFC3-3347-B482-3947A9EE83B5}">
      <dgm:prSet/>
      <dgm:spPr/>
      <dgm:t>
        <a:bodyPr/>
        <a:lstStyle/>
        <a:p>
          <a:endParaRPr lang="en-US"/>
        </a:p>
      </dgm:t>
    </dgm:pt>
    <dgm:pt modelId="{732E8E7A-CADB-F049-A684-08F83C622F2D}">
      <dgm:prSet/>
      <dgm:spPr/>
      <dgm:t>
        <a:bodyPr/>
        <a:lstStyle/>
        <a:p>
          <a:r>
            <a:rPr lang="en-US" b="0" dirty="0"/>
            <a:t>Support &amp; consultation </a:t>
          </a:r>
          <a:endParaRPr lang="en-SA" dirty="0"/>
        </a:p>
      </dgm:t>
    </dgm:pt>
    <dgm:pt modelId="{D31E15F8-6B70-FB4A-B8C9-EC4C3EA25CE0}" type="parTrans" cxnId="{109A7C41-520F-CD40-B592-CCE7E1E86771}">
      <dgm:prSet/>
      <dgm:spPr/>
      <dgm:t>
        <a:bodyPr/>
        <a:lstStyle/>
        <a:p>
          <a:endParaRPr lang="en-US"/>
        </a:p>
      </dgm:t>
    </dgm:pt>
    <dgm:pt modelId="{7C54E890-7B40-2747-8CB8-19D892C7CB35}" type="sibTrans" cxnId="{109A7C41-520F-CD40-B592-CCE7E1E86771}">
      <dgm:prSet/>
      <dgm:spPr/>
      <dgm:t>
        <a:bodyPr/>
        <a:lstStyle/>
        <a:p>
          <a:endParaRPr lang="en-US"/>
        </a:p>
      </dgm:t>
    </dgm:pt>
    <dgm:pt modelId="{B0C901B6-9568-0740-ACD6-C4FFD527B6A7}">
      <dgm:prSet/>
      <dgm:spPr/>
      <dgm:t>
        <a:bodyPr/>
        <a:lstStyle/>
        <a:p>
          <a:r>
            <a:rPr lang="en-US" dirty="0"/>
            <a:t>Supporting Gov. entities to achieve required maturity levels.</a:t>
          </a:r>
          <a:endParaRPr lang="en-SA" dirty="0"/>
        </a:p>
      </dgm:t>
    </dgm:pt>
    <dgm:pt modelId="{69EE0613-0886-3245-81E2-61BDA1C58CC2}" type="parTrans" cxnId="{EE5606C4-5968-2845-AF9C-97A8379DB484}">
      <dgm:prSet/>
      <dgm:spPr/>
      <dgm:t>
        <a:bodyPr/>
        <a:lstStyle/>
        <a:p>
          <a:endParaRPr lang="en-US"/>
        </a:p>
      </dgm:t>
    </dgm:pt>
    <dgm:pt modelId="{A76CD2E3-F62D-0948-A794-AF1FD0627E15}" type="sibTrans" cxnId="{EE5606C4-5968-2845-AF9C-97A8379DB484}">
      <dgm:prSet/>
      <dgm:spPr/>
      <dgm:t>
        <a:bodyPr/>
        <a:lstStyle/>
        <a:p>
          <a:endParaRPr lang="en-US"/>
        </a:p>
      </dgm:t>
    </dgm:pt>
    <dgm:pt modelId="{3F684FD0-22F7-6C45-B773-56F392F31E22}" type="pres">
      <dgm:prSet presAssocID="{EFF2AB89-7A88-CD43-B81E-D95DC8660F87}" presName="Name0" presStyleCnt="0">
        <dgm:presLayoutVars>
          <dgm:chPref val="3"/>
          <dgm:dir/>
          <dgm:animLvl val="lvl"/>
          <dgm:resizeHandles/>
        </dgm:presLayoutVars>
      </dgm:prSet>
      <dgm:spPr/>
    </dgm:pt>
    <dgm:pt modelId="{949079CE-6B11-F74B-9903-B2A3320B6300}" type="pres">
      <dgm:prSet presAssocID="{17FF71B1-0297-2E49-BBD6-ABA46E8B57EF}" presName="horFlow" presStyleCnt="0"/>
      <dgm:spPr/>
    </dgm:pt>
    <dgm:pt modelId="{A47EBAF6-E178-144F-A3CC-220FA0FB263A}" type="pres">
      <dgm:prSet presAssocID="{17FF71B1-0297-2E49-BBD6-ABA46E8B57EF}" presName="bigChev" presStyleLbl="node1" presStyleIdx="0" presStyleCnt="4"/>
      <dgm:spPr/>
    </dgm:pt>
    <dgm:pt modelId="{DAA857F4-2196-BA45-AB48-5F1DE580D849}" type="pres">
      <dgm:prSet presAssocID="{92640AA1-740E-5145-A797-1E306735C635}" presName="parTrans" presStyleCnt="0"/>
      <dgm:spPr/>
    </dgm:pt>
    <dgm:pt modelId="{368DC64B-5BDC-8A4E-A38C-DB16F3614EC3}" type="pres">
      <dgm:prSet presAssocID="{B73F9E49-5837-5E41-82F5-A1ABAB9399DC}" presName="node" presStyleLbl="alignAccFollowNode1" presStyleIdx="0" presStyleCnt="4" custScaleX="267400">
        <dgm:presLayoutVars>
          <dgm:bulletEnabled val="1"/>
        </dgm:presLayoutVars>
      </dgm:prSet>
      <dgm:spPr/>
    </dgm:pt>
    <dgm:pt modelId="{04AC2220-1B5F-6244-AE9A-24467CE6B558}" type="pres">
      <dgm:prSet presAssocID="{17FF71B1-0297-2E49-BBD6-ABA46E8B57EF}" presName="vSp" presStyleCnt="0"/>
      <dgm:spPr/>
    </dgm:pt>
    <dgm:pt modelId="{72ACBC02-7F75-F64F-B91E-6D1950AB95DF}" type="pres">
      <dgm:prSet presAssocID="{A2EC618C-B04A-5B48-82A6-B574E693B9E1}" presName="horFlow" presStyleCnt="0"/>
      <dgm:spPr/>
    </dgm:pt>
    <dgm:pt modelId="{1BCA93D2-5905-8540-B23B-968567D073DE}" type="pres">
      <dgm:prSet presAssocID="{A2EC618C-B04A-5B48-82A6-B574E693B9E1}" presName="bigChev" presStyleLbl="node1" presStyleIdx="1" presStyleCnt="4"/>
      <dgm:spPr/>
    </dgm:pt>
    <dgm:pt modelId="{0825AB7C-40A0-6A4E-8029-44B25A84E1A9}" type="pres">
      <dgm:prSet presAssocID="{35541CDF-C86E-2345-9F7F-E7D4E67DD447}" presName="parTrans" presStyleCnt="0"/>
      <dgm:spPr/>
    </dgm:pt>
    <dgm:pt modelId="{87720452-1B98-7F49-8990-513ABE5AB4EF}" type="pres">
      <dgm:prSet presAssocID="{7AE4B25D-51EE-3045-B540-609412E689EA}" presName="node" presStyleLbl="alignAccFollowNode1" presStyleIdx="1" presStyleCnt="4" custScaleX="267400">
        <dgm:presLayoutVars>
          <dgm:bulletEnabled val="1"/>
        </dgm:presLayoutVars>
      </dgm:prSet>
      <dgm:spPr/>
    </dgm:pt>
    <dgm:pt modelId="{07DAADBD-5B5C-2D45-8AE0-54E91C32C8BA}" type="pres">
      <dgm:prSet presAssocID="{A2EC618C-B04A-5B48-82A6-B574E693B9E1}" presName="vSp" presStyleCnt="0"/>
      <dgm:spPr/>
    </dgm:pt>
    <dgm:pt modelId="{80A79366-FB23-4C42-B803-DA0469D6B379}" type="pres">
      <dgm:prSet presAssocID="{80F63366-A15E-0A4C-94D2-1CC1FC783568}" presName="horFlow" presStyleCnt="0"/>
      <dgm:spPr/>
    </dgm:pt>
    <dgm:pt modelId="{61B864DB-DB81-8D4D-B018-0E8FC6A2CCBA}" type="pres">
      <dgm:prSet presAssocID="{80F63366-A15E-0A4C-94D2-1CC1FC783568}" presName="bigChev" presStyleLbl="node1" presStyleIdx="2" presStyleCnt="4"/>
      <dgm:spPr/>
    </dgm:pt>
    <dgm:pt modelId="{29AF1C62-FACC-1242-AA8C-DAD07CED3FC7}" type="pres">
      <dgm:prSet presAssocID="{B4EE91EA-1DD1-E540-801B-9845A778C0A0}" presName="parTrans" presStyleCnt="0"/>
      <dgm:spPr/>
    </dgm:pt>
    <dgm:pt modelId="{F1340647-82DB-1F46-87CA-AE2F02D14729}" type="pres">
      <dgm:prSet presAssocID="{07CF6209-12D1-3B4D-80C6-F9801161618A}" presName="node" presStyleLbl="alignAccFollowNode1" presStyleIdx="2" presStyleCnt="4" custScaleX="267400">
        <dgm:presLayoutVars>
          <dgm:bulletEnabled val="1"/>
        </dgm:presLayoutVars>
      </dgm:prSet>
      <dgm:spPr/>
    </dgm:pt>
    <dgm:pt modelId="{9E1CC805-42C5-6F40-A6C0-B232946CB81B}" type="pres">
      <dgm:prSet presAssocID="{80F63366-A15E-0A4C-94D2-1CC1FC783568}" presName="vSp" presStyleCnt="0"/>
      <dgm:spPr/>
    </dgm:pt>
    <dgm:pt modelId="{C9535087-2859-7044-949D-7C58921DDF9E}" type="pres">
      <dgm:prSet presAssocID="{732E8E7A-CADB-F049-A684-08F83C622F2D}" presName="horFlow" presStyleCnt="0"/>
      <dgm:spPr/>
    </dgm:pt>
    <dgm:pt modelId="{42DFF68C-A5E3-5941-AC51-70EAA0703236}" type="pres">
      <dgm:prSet presAssocID="{732E8E7A-CADB-F049-A684-08F83C622F2D}" presName="bigChev" presStyleLbl="node1" presStyleIdx="3" presStyleCnt="4"/>
      <dgm:spPr/>
    </dgm:pt>
    <dgm:pt modelId="{2869FB68-8FE1-2C41-A8FB-FF090965EF31}" type="pres">
      <dgm:prSet presAssocID="{69EE0613-0886-3245-81E2-61BDA1C58CC2}" presName="parTrans" presStyleCnt="0"/>
      <dgm:spPr/>
    </dgm:pt>
    <dgm:pt modelId="{B381B193-C879-444B-ABF1-03BA0A3E2282}" type="pres">
      <dgm:prSet presAssocID="{B0C901B6-9568-0740-ACD6-C4FFD527B6A7}" presName="node" presStyleLbl="alignAccFollowNode1" presStyleIdx="3" presStyleCnt="4" custScaleX="267400">
        <dgm:presLayoutVars>
          <dgm:bulletEnabled val="1"/>
        </dgm:presLayoutVars>
      </dgm:prSet>
      <dgm:spPr/>
    </dgm:pt>
  </dgm:ptLst>
  <dgm:cxnLst>
    <dgm:cxn modelId="{B43D9907-B0A7-FD43-8093-270F502ED778}" type="presOf" srcId="{732E8E7A-CADB-F049-A684-08F83C622F2D}" destId="{42DFF68C-A5E3-5941-AC51-70EAA0703236}" srcOrd="0" destOrd="0" presId="urn:microsoft.com/office/officeart/2005/8/layout/lProcess3"/>
    <dgm:cxn modelId="{EF8FF310-3603-B943-AC90-1BD92A574C86}" type="presOf" srcId="{7AE4B25D-51EE-3045-B540-609412E689EA}" destId="{87720452-1B98-7F49-8990-513ABE5AB4EF}" srcOrd="0" destOrd="0" presId="urn:microsoft.com/office/officeart/2005/8/layout/lProcess3"/>
    <dgm:cxn modelId="{3839041D-5094-6640-98A0-A3AC26E3EB35}" srcId="{A2EC618C-B04A-5B48-82A6-B574E693B9E1}" destId="{7AE4B25D-51EE-3045-B540-609412E689EA}" srcOrd="0" destOrd="0" parTransId="{35541CDF-C86E-2345-9F7F-E7D4E67DD447}" sibTransId="{CD57C6DF-666A-8E4B-8C0C-4F80EEE910AA}"/>
    <dgm:cxn modelId="{4327C822-EFC3-3347-B482-3947A9EE83B5}" srcId="{80F63366-A15E-0A4C-94D2-1CC1FC783568}" destId="{07CF6209-12D1-3B4D-80C6-F9801161618A}" srcOrd="0" destOrd="0" parTransId="{B4EE91EA-1DD1-E540-801B-9845A778C0A0}" sibTransId="{3CFE81DB-2772-914D-A42D-412A2F2C9EB4}"/>
    <dgm:cxn modelId="{9B61143E-78A7-9D48-9A7E-0536D1009200}" srcId="{17FF71B1-0297-2E49-BBD6-ABA46E8B57EF}" destId="{B73F9E49-5837-5E41-82F5-A1ABAB9399DC}" srcOrd="0" destOrd="0" parTransId="{92640AA1-740E-5145-A797-1E306735C635}" sibTransId="{C4D8ADA5-1F47-B248-BF49-37D7AF3602C6}"/>
    <dgm:cxn modelId="{109A7C41-520F-CD40-B592-CCE7E1E86771}" srcId="{EFF2AB89-7A88-CD43-B81E-D95DC8660F87}" destId="{732E8E7A-CADB-F049-A684-08F83C622F2D}" srcOrd="3" destOrd="0" parTransId="{D31E15F8-6B70-FB4A-B8C9-EC4C3EA25CE0}" sibTransId="{7C54E890-7B40-2747-8CB8-19D892C7CB35}"/>
    <dgm:cxn modelId="{97C28945-7B58-554A-9CA4-AAF85E6D5931}" srcId="{EFF2AB89-7A88-CD43-B81E-D95DC8660F87}" destId="{80F63366-A15E-0A4C-94D2-1CC1FC783568}" srcOrd="2" destOrd="0" parTransId="{8657F462-747E-BE4D-856A-14543731E45E}" sibTransId="{30B01620-0312-B943-B852-F252A1D6BA3F}"/>
    <dgm:cxn modelId="{B11F8A69-6CC6-A349-A2D2-6710F015DF04}" type="presOf" srcId="{80F63366-A15E-0A4C-94D2-1CC1FC783568}" destId="{61B864DB-DB81-8D4D-B018-0E8FC6A2CCBA}" srcOrd="0" destOrd="0" presId="urn:microsoft.com/office/officeart/2005/8/layout/lProcess3"/>
    <dgm:cxn modelId="{66F2B34E-81B1-0647-95B4-5C98F56711DA}" type="presOf" srcId="{B73F9E49-5837-5E41-82F5-A1ABAB9399DC}" destId="{368DC64B-5BDC-8A4E-A38C-DB16F3614EC3}" srcOrd="0" destOrd="0" presId="urn:microsoft.com/office/officeart/2005/8/layout/lProcess3"/>
    <dgm:cxn modelId="{C06ED573-74B3-8947-9F2E-7347637BF61A}" type="presOf" srcId="{EFF2AB89-7A88-CD43-B81E-D95DC8660F87}" destId="{3F684FD0-22F7-6C45-B773-56F392F31E22}" srcOrd="0" destOrd="0" presId="urn:microsoft.com/office/officeart/2005/8/layout/lProcess3"/>
    <dgm:cxn modelId="{D1960674-E61A-2849-8C2A-1446E9CED9FE}" type="presOf" srcId="{07CF6209-12D1-3B4D-80C6-F9801161618A}" destId="{F1340647-82DB-1F46-87CA-AE2F02D14729}" srcOrd="0" destOrd="0" presId="urn:microsoft.com/office/officeart/2005/8/layout/lProcess3"/>
    <dgm:cxn modelId="{33E9DAB0-CFD5-C141-AC0E-4BFABE2AF004}" srcId="{EFF2AB89-7A88-CD43-B81E-D95DC8660F87}" destId="{A2EC618C-B04A-5B48-82A6-B574E693B9E1}" srcOrd="1" destOrd="0" parTransId="{914AEBDD-9556-EB45-B56D-ACD60158FC50}" sibTransId="{2D0520A7-CCB2-794A-92A0-EEB4AFD7F03A}"/>
    <dgm:cxn modelId="{1D2B10B1-E026-4A4F-A150-C738797192CD}" type="presOf" srcId="{B0C901B6-9568-0740-ACD6-C4FFD527B6A7}" destId="{B381B193-C879-444B-ABF1-03BA0A3E2282}" srcOrd="0" destOrd="0" presId="urn:microsoft.com/office/officeart/2005/8/layout/lProcess3"/>
    <dgm:cxn modelId="{9B5F75BE-6EA4-5C49-9C7E-01EDCAD4BFEA}" srcId="{EFF2AB89-7A88-CD43-B81E-D95DC8660F87}" destId="{17FF71B1-0297-2E49-BBD6-ABA46E8B57EF}" srcOrd="0" destOrd="0" parTransId="{11BE707B-9001-804C-8AAF-954A4F2129D8}" sibTransId="{97E79FE0-874D-5B42-98E6-878F2801DAAF}"/>
    <dgm:cxn modelId="{EE5606C4-5968-2845-AF9C-97A8379DB484}" srcId="{732E8E7A-CADB-F049-A684-08F83C622F2D}" destId="{B0C901B6-9568-0740-ACD6-C4FFD527B6A7}" srcOrd="0" destOrd="0" parTransId="{69EE0613-0886-3245-81E2-61BDA1C58CC2}" sibTransId="{A76CD2E3-F62D-0948-A794-AF1FD0627E15}"/>
    <dgm:cxn modelId="{2CF15DE2-45ED-6644-8501-4056E9C511C7}" type="presOf" srcId="{A2EC618C-B04A-5B48-82A6-B574E693B9E1}" destId="{1BCA93D2-5905-8540-B23B-968567D073DE}" srcOrd="0" destOrd="0" presId="urn:microsoft.com/office/officeart/2005/8/layout/lProcess3"/>
    <dgm:cxn modelId="{151270FA-6948-424C-A96A-F50F2030C075}" type="presOf" srcId="{17FF71B1-0297-2E49-BBD6-ABA46E8B57EF}" destId="{A47EBAF6-E178-144F-A3CC-220FA0FB263A}" srcOrd="0" destOrd="0" presId="urn:microsoft.com/office/officeart/2005/8/layout/lProcess3"/>
    <dgm:cxn modelId="{9D7C0A2C-71C5-564D-8B0B-A1913448B3EB}" type="presParOf" srcId="{3F684FD0-22F7-6C45-B773-56F392F31E22}" destId="{949079CE-6B11-F74B-9903-B2A3320B6300}" srcOrd="0" destOrd="0" presId="urn:microsoft.com/office/officeart/2005/8/layout/lProcess3"/>
    <dgm:cxn modelId="{05C17D52-0055-3745-AA3D-9AC5A8A6A45E}" type="presParOf" srcId="{949079CE-6B11-F74B-9903-B2A3320B6300}" destId="{A47EBAF6-E178-144F-A3CC-220FA0FB263A}" srcOrd="0" destOrd="0" presId="urn:microsoft.com/office/officeart/2005/8/layout/lProcess3"/>
    <dgm:cxn modelId="{0E92AED9-DBBF-124D-9FD4-6AA90AF4323A}" type="presParOf" srcId="{949079CE-6B11-F74B-9903-B2A3320B6300}" destId="{DAA857F4-2196-BA45-AB48-5F1DE580D849}" srcOrd="1" destOrd="0" presId="urn:microsoft.com/office/officeart/2005/8/layout/lProcess3"/>
    <dgm:cxn modelId="{528C38CB-425A-B840-B0B6-520D228150CA}" type="presParOf" srcId="{949079CE-6B11-F74B-9903-B2A3320B6300}" destId="{368DC64B-5BDC-8A4E-A38C-DB16F3614EC3}" srcOrd="2" destOrd="0" presId="urn:microsoft.com/office/officeart/2005/8/layout/lProcess3"/>
    <dgm:cxn modelId="{B954C86D-F187-8646-902A-2A5FD7F31837}" type="presParOf" srcId="{3F684FD0-22F7-6C45-B773-56F392F31E22}" destId="{04AC2220-1B5F-6244-AE9A-24467CE6B558}" srcOrd="1" destOrd="0" presId="urn:microsoft.com/office/officeart/2005/8/layout/lProcess3"/>
    <dgm:cxn modelId="{7E404FE4-F508-BA45-AC4E-E4C90F693BDD}" type="presParOf" srcId="{3F684FD0-22F7-6C45-B773-56F392F31E22}" destId="{72ACBC02-7F75-F64F-B91E-6D1950AB95DF}" srcOrd="2" destOrd="0" presId="urn:microsoft.com/office/officeart/2005/8/layout/lProcess3"/>
    <dgm:cxn modelId="{C4360F6A-0F51-C64E-A205-510854A99040}" type="presParOf" srcId="{72ACBC02-7F75-F64F-B91E-6D1950AB95DF}" destId="{1BCA93D2-5905-8540-B23B-968567D073DE}" srcOrd="0" destOrd="0" presId="urn:microsoft.com/office/officeart/2005/8/layout/lProcess3"/>
    <dgm:cxn modelId="{DD35417B-530A-524C-B953-BA6AA4610608}" type="presParOf" srcId="{72ACBC02-7F75-F64F-B91E-6D1950AB95DF}" destId="{0825AB7C-40A0-6A4E-8029-44B25A84E1A9}" srcOrd="1" destOrd="0" presId="urn:microsoft.com/office/officeart/2005/8/layout/lProcess3"/>
    <dgm:cxn modelId="{1D3DD823-7AB0-4945-B871-4DE786721262}" type="presParOf" srcId="{72ACBC02-7F75-F64F-B91E-6D1950AB95DF}" destId="{87720452-1B98-7F49-8990-513ABE5AB4EF}" srcOrd="2" destOrd="0" presId="urn:microsoft.com/office/officeart/2005/8/layout/lProcess3"/>
    <dgm:cxn modelId="{3A5E819D-92C5-624B-95AA-A7CA5FDBB38B}" type="presParOf" srcId="{3F684FD0-22F7-6C45-B773-56F392F31E22}" destId="{07DAADBD-5B5C-2D45-8AE0-54E91C32C8BA}" srcOrd="3" destOrd="0" presId="urn:microsoft.com/office/officeart/2005/8/layout/lProcess3"/>
    <dgm:cxn modelId="{9358B06E-DEA7-994B-9CD3-E6D065CCD2F8}" type="presParOf" srcId="{3F684FD0-22F7-6C45-B773-56F392F31E22}" destId="{80A79366-FB23-4C42-B803-DA0469D6B379}" srcOrd="4" destOrd="0" presId="urn:microsoft.com/office/officeart/2005/8/layout/lProcess3"/>
    <dgm:cxn modelId="{75C4461D-D269-2B44-B5BA-3E908C934F58}" type="presParOf" srcId="{80A79366-FB23-4C42-B803-DA0469D6B379}" destId="{61B864DB-DB81-8D4D-B018-0E8FC6A2CCBA}" srcOrd="0" destOrd="0" presId="urn:microsoft.com/office/officeart/2005/8/layout/lProcess3"/>
    <dgm:cxn modelId="{1C0D4D12-CE50-2C46-8F23-7A5998CFDDAE}" type="presParOf" srcId="{80A79366-FB23-4C42-B803-DA0469D6B379}" destId="{29AF1C62-FACC-1242-AA8C-DAD07CED3FC7}" srcOrd="1" destOrd="0" presId="urn:microsoft.com/office/officeart/2005/8/layout/lProcess3"/>
    <dgm:cxn modelId="{7DF4856C-B943-094D-8FD5-75E7880B1642}" type="presParOf" srcId="{80A79366-FB23-4C42-B803-DA0469D6B379}" destId="{F1340647-82DB-1F46-87CA-AE2F02D14729}" srcOrd="2" destOrd="0" presId="urn:microsoft.com/office/officeart/2005/8/layout/lProcess3"/>
    <dgm:cxn modelId="{3B701953-0344-354A-A192-3969C7423F1B}" type="presParOf" srcId="{3F684FD0-22F7-6C45-B773-56F392F31E22}" destId="{9E1CC805-42C5-6F40-A6C0-B232946CB81B}" srcOrd="5" destOrd="0" presId="urn:microsoft.com/office/officeart/2005/8/layout/lProcess3"/>
    <dgm:cxn modelId="{100626F5-10D5-7B4E-B60D-2557718201E4}" type="presParOf" srcId="{3F684FD0-22F7-6C45-B773-56F392F31E22}" destId="{C9535087-2859-7044-949D-7C58921DDF9E}" srcOrd="6" destOrd="0" presId="urn:microsoft.com/office/officeart/2005/8/layout/lProcess3"/>
    <dgm:cxn modelId="{30805D04-0A2A-6A4F-A7D4-8BA7A5FDEF5C}" type="presParOf" srcId="{C9535087-2859-7044-949D-7C58921DDF9E}" destId="{42DFF68C-A5E3-5941-AC51-70EAA0703236}" srcOrd="0" destOrd="0" presId="urn:microsoft.com/office/officeart/2005/8/layout/lProcess3"/>
    <dgm:cxn modelId="{B5F49974-CC61-0343-A431-D8A88AE7EBDB}" type="presParOf" srcId="{C9535087-2859-7044-949D-7C58921DDF9E}" destId="{2869FB68-8FE1-2C41-A8FB-FF090965EF31}" srcOrd="1" destOrd="0" presId="urn:microsoft.com/office/officeart/2005/8/layout/lProcess3"/>
    <dgm:cxn modelId="{992C5590-618E-7546-99D1-926C00849FC3}" type="presParOf" srcId="{C9535087-2859-7044-949D-7C58921DDF9E}" destId="{B381B193-C879-444B-ABF1-03BA0A3E2282}" srcOrd="2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42966CF-1A3D-40BB-B1FB-6278A32DF445}" type="doc">
      <dgm:prSet loTypeId="urn:microsoft.com/office/officeart/2005/8/layout/hChevron3" loCatId="process" qsTypeId="urn:microsoft.com/office/officeart/2005/8/quickstyle/simple1" qsCatId="simple" csTypeId="urn:microsoft.com/office/officeart/2005/8/colors/accent4_2" csCatId="accent4" phldr="1"/>
      <dgm:spPr/>
    </dgm:pt>
    <dgm:pt modelId="{95C05D02-833C-45E2-9AF0-13CCF47538F2}">
      <dgm:prSet phldrT="[Text]" custT="1"/>
      <dgm:spPr>
        <a:solidFill>
          <a:schemeClr val="accent4">
            <a:lumMod val="40000"/>
            <a:lumOff val="60000"/>
          </a:schemeClr>
        </a:solidFill>
      </dgm:spPr>
      <dgm:t>
        <a:bodyPr/>
        <a:lstStyle/>
        <a:p>
          <a:r>
            <a:rPr lang="en-US" sz="1800" dirty="0">
              <a:latin typeface="Roboto Condensed Light" panose="02000000000000000000" pitchFamily="2" charset="0"/>
              <a:ea typeface="Roboto Condensed Light" panose="02000000000000000000" pitchFamily="2" charset="0"/>
            </a:rPr>
            <a:t>Standards</a:t>
          </a:r>
          <a:endParaRPr lang="en-CA" sz="1800" dirty="0">
            <a:latin typeface="Roboto Condensed Light" panose="02000000000000000000" pitchFamily="2" charset="0"/>
            <a:ea typeface="Roboto Condensed Light" panose="02000000000000000000" pitchFamily="2" charset="0"/>
          </a:endParaRPr>
        </a:p>
      </dgm:t>
    </dgm:pt>
    <dgm:pt modelId="{27E8FD39-DA9B-45CC-9A8B-9161103DFFDA}" type="parTrans" cxnId="{4E8255E0-1EF4-4631-99DD-D175613ACC2A}">
      <dgm:prSet/>
      <dgm:spPr/>
      <dgm:t>
        <a:bodyPr/>
        <a:lstStyle/>
        <a:p>
          <a:endParaRPr lang="en-CA"/>
        </a:p>
      </dgm:t>
    </dgm:pt>
    <dgm:pt modelId="{971C0049-3A19-48E4-93C9-027C30B5A451}" type="sibTrans" cxnId="{4E8255E0-1EF4-4631-99DD-D175613ACC2A}">
      <dgm:prSet/>
      <dgm:spPr/>
      <dgm:t>
        <a:bodyPr/>
        <a:lstStyle/>
        <a:p>
          <a:endParaRPr lang="en-CA"/>
        </a:p>
      </dgm:t>
    </dgm:pt>
    <dgm:pt modelId="{4CE13954-CD69-42D4-A092-4E8DEA0DF3A1}">
      <dgm:prSet phldrT="[Text]" custT="1"/>
      <dgm:spPr>
        <a:solidFill>
          <a:schemeClr val="accent4">
            <a:lumMod val="40000"/>
            <a:lumOff val="60000"/>
          </a:schemeClr>
        </a:solidFill>
      </dgm:spPr>
      <dgm:t>
        <a:bodyPr/>
        <a:lstStyle/>
        <a:p>
          <a:r>
            <a:rPr lang="en-US" sz="1800" dirty="0">
              <a:latin typeface="Roboto Condensed Light" panose="02000000000000000000" pitchFamily="2" charset="0"/>
              <a:ea typeface="Roboto Condensed Light" panose="02000000000000000000" pitchFamily="2" charset="0"/>
            </a:rPr>
            <a:t>Templates</a:t>
          </a:r>
          <a:endParaRPr lang="en-CA" sz="1800" dirty="0">
            <a:latin typeface="Roboto Condensed Light" panose="02000000000000000000" pitchFamily="2" charset="0"/>
            <a:ea typeface="Roboto Condensed Light" panose="02000000000000000000" pitchFamily="2" charset="0"/>
          </a:endParaRPr>
        </a:p>
      </dgm:t>
    </dgm:pt>
    <dgm:pt modelId="{BAC0E939-FB42-43E0-B8A0-2D68415B02BB}" type="parTrans" cxnId="{49F5295A-AC2D-4706-876C-1021D1280536}">
      <dgm:prSet/>
      <dgm:spPr/>
      <dgm:t>
        <a:bodyPr/>
        <a:lstStyle/>
        <a:p>
          <a:endParaRPr lang="en-CA"/>
        </a:p>
      </dgm:t>
    </dgm:pt>
    <dgm:pt modelId="{C50D0A8C-B2A4-4387-ACED-42AE980D4157}" type="sibTrans" cxnId="{49F5295A-AC2D-4706-876C-1021D1280536}">
      <dgm:prSet/>
      <dgm:spPr/>
      <dgm:t>
        <a:bodyPr/>
        <a:lstStyle/>
        <a:p>
          <a:endParaRPr lang="en-CA"/>
        </a:p>
      </dgm:t>
    </dgm:pt>
    <dgm:pt modelId="{B01EE630-ABEB-4ACD-A2ED-75266EB66B66}">
      <dgm:prSet phldrT="[Text]" custT="1"/>
      <dgm:spPr>
        <a:solidFill>
          <a:schemeClr val="accent4">
            <a:lumMod val="40000"/>
            <a:lumOff val="60000"/>
          </a:schemeClr>
        </a:solidFill>
      </dgm:spPr>
      <dgm:t>
        <a:bodyPr/>
        <a:lstStyle/>
        <a:p>
          <a:r>
            <a:rPr lang="en-CA" sz="1800" dirty="0">
              <a:latin typeface="Roboto Condensed Light" panose="02000000000000000000" pitchFamily="2" charset="0"/>
              <a:ea typeface="Roboto Condensed Light" panose="02000000000000000000" pitchFamily="2" charset="0"/>
            </a:rPr>
            <a:t>CMS</a:t>
          </a:r>
        </a:p>
      </dgm:t>
    </dgm:pt>
    <dgm:pt modelId="{BCF797B6-3B39-4D0C-BF96-45A8CEEBB6B5}" type="parTrans" cxnId="{17C17CDF-F399-4CA4-9D4C-7235C0B940B8}">
      <dgm:prSet/>
      <dgm:spPr/>
      <dgm:t>
        <a:bodyPr/>
        <a:lstStyle/>
        <a:p>
          <a:endParaRPr lang="en-CA"/>
        </a:p>
      </dgm:t>
    </dgm:pt>
    <dgm:pt modelId="{9E5751FA-4661-4BE1-BC82-95927D7A3E4C}" type="sibTrans" cxnId="{17C17CDF-F399-4CA4-9D4C-7235C0B940B8}">
      <dgm:prSet/>
      <dgm:spPr/>
      <dgm:t>
        <a:bodyPr/>
        <a:lstStyle/>
        <a:p>
          <a:endParaRPr lang="en-CA"/>
        </a:p>
      </dgm:t>
    </dgm:pt>
    <dgm:pt modelId="{C0215F2F-C884-4A85-BAE4-9910A839303E}" type="pres">
      <dgm:prSet presAssocID="{542966CF-1A3D-40BB-B1FB-6278A32DF445}" presName="Name0" presStyleCnt="0">
        <dgm:presLayoutVars>
          <dgm:dir/>
          <dgm:resizeHandles val="exact"/>
        </dgm:presLayoutVars>
      </dgm:prSet>
      <dgm:spPr/>
    </dgm:pt>
    <dgm:pt modelId="{B96F0D37-9CF2-416F-B574-A4608EB63080}" type="pres">
      <dgm:prSet presAssocID="{95C05D02-833C-45E2-9AF0-13CCF47538F2}" presName="parTxOnly" presStyleLbl="node1" presStyleIdx="0" presStyleCnt="3">
        <dgm:presLayoutVars>
          <dgm:bulletEnabled val="1"/>
        </dgm:presLayoutVars>
      </dgm:prSet>
      <dgm:spPr/>
    </dgm:pt>
    <dgm:pt modelId="{5BA850BC-66CA-4E6A-8D66-8C16A4467070}" type="pres">
      <dgm:prSet presAssocID="{971C0049-3A19-48E4-93C9-027C30B5A451}" presName="parSpace" presStyleCnt="0"/>
      <dgm:spPr/>
    </dgm:pt>
    <dgm:pt modelId="{FDA43078-FC30-4C48-928A-0290E463E2F8}" type="pres">
      <dgm:prSet presAssocID="{4CE13954-CD69-42D4-A092-4E8DEA0DF3A1}" presName="parTxOnly" presStyleLbl="node1" presStyleIdx="1" presStyleCnt="3">
        <dgm:presLayoutVars>
          <dgm:bulletEnabled val="1"/>
        </dgm:presLayoutVars>
      </dgm:prSet>
      <dgm:spPr/>
    </dgm:pt>
    <dgm:pt modelId="{6AB6B36F-7BEA-4BF2-9DCE-0EC0189571A0}" type="pres">
      <dgm:prSet presAssocID="{C50D0A8C-B2A4-4387-ACED-42AE980D4157}" presName="parSpace" presStyleCnt="0"/>
      <dgm:spPr/>
    </dgm:pt>
    <dgm:pt modelId="{44C325DF-AE1B-4867-AF3E-4A6C3794DEB0}" type="pres">
      <dgm:prSet presAssocID="{B01EE630-ABEB-4ACD-A2ED-75266EB66B66}" presName="parTxOnly" presStyleLbl="node1" presStyleIdx="2" presStyleCnt="3">
        <dgm:presLayoutVars>
          <dgm:bulletEnabled val="1"/>
        </dgm:presLayoutVars>
      </dgm:prSet>
      <dgm:spPr/>
    </dgm:pt>
  </dgm:ptLst>
  <dgm:cxnLst>
    <dgm:cxn modelId="{6CE83606-65F9-4A74-AC73-D55803D78E91}" type="presOf" srcId="{B01EE630-ABEB-4ACD-A2ED-75266EB66B66}" destId="{44C325DF-AE1B-4867-AF3E-4A6C3794DEB0}" srcOrd="0" destOrd="0" presId="urn:microsoft.com/office/officeart/2005/8/layout/hChevron3"/>
    <dgm:cxn modelId="{C22BF53F-ED7B-4666-8BDC-64711BE676B0}" type="presOf" srcId="{4CE13954-CD69-42D4-A092-4E8DEA0DF3A1}" destId="{FDA43078-FC30-4C48-928A-0290E463E2F8}" srcOrd="0" destOrd="0" presId="urn:microsoft.com/office/officeart/2005/8/layout/hChevron3"/>
    <dgm:cxn modelId="{49F5295A-AC2D-4706-876C-1021D1280536}" srcId="{542966CF-1A3D-40BB-B1FB-6278A32DF445}" destId="{4CE13954-CD69-42D4-A092-4E8DEA0DF3A1}" srcOrd="1" destOrd="0" parTransId="{BAC0E939-FB42-43E0-B8A0-2D68415B02BB}" sibTransId="{C50D0A8C-B2A4-4387-ACED-42AE980D4157}"/>
    <dgm:cxn modelId="{3963A3A5-19AC-4BD1-AA9F-682CA3421744}" type="presOf" srcId="{95C05D02-833C-45E2-9AF0-13CCF47538F2}" destId="{B96F0D37-9CF2-416F-B574-A4608EB63080}" srcOrd="0" destOrd="0" presId="urn:microsoft.com/office/officeart/2005/8/layout/hChevron3"/>
    <dgm:cxn modelId="{17C17CDF-F399-4CA4-9D4C-7235C0B940B8}" srcId="{542966CF-1A3D-40BB-B1FB-6278A32DF445}" destId="{B01EE630-ABEB-4ACD-A2ED-75266EB66B66}" srcOrd="2" destOrd="0" parTransId="{BCF797B6-3B39-4D0C-BF96-45A8CEEBB6B5}" sibTransId="{9E5751FA-4661-4BE1-BC82-95927D7A3E4C}"/>
    <dgm:cxn modelId="{4E8255E0-1EF4-4631-99DD-D175613ACC2A}" srcId="{542966CF-1A3D-40BB-B1FB-6278A32DF445}" destId="{95C05D02-833C-45E2-9AF0-13CCF47538F2}" srcOrd="0" destOrd="0" parTransId="{27E8FD39-DA9B-45CC-9A8B-9161103DFFDA}" sibTransId="{971C0049-3A19-48E4-93C9-027C30B5A451}"/>
    <dgm:cxn modelId="{CDCD3BF9-88E6-4D2E-A9EF-8861B384CCBD}" type="presOf" srcId="{542966CF-1A3D-40BB-B1FB-6278A32DF445}" destId="{C0215F2F-C884-4A85-BAE4-9910A839303E}" srcOrd="0" destOrd="0" presId="urn:microsoft.com/office/officeart/2005/8/layout/hChevron3"/>
    <dgm:cxn modelId="{738669C1-8832-41D3-9960-16F7D7D6C7D4}" type="presParOf" srcId="{C0215F2F-C884-4A85-BAE4-9910A839303E}" destId="{B96F0D37-9CF2-416F-B574-A4608EB63080}" srcOrd="0" destOrd="0" presId="urn:microsoft.com/office/officeart/2005/8/layout/hChevron3"/>
    <dgm:cxn modelId="{C8747270-AB85-471C-972A-F1C4C5F42CEB}" type="presParOf" srcId="{C0215F2F-C884-4A85-BAE4-9910A839303E}" destId="{5BA850BC-66CA-4E6A-8D66-8C16A4467070}" srcOrd="1" destOrd="0" presId="urn:microsoft.com/office/officeart/2005/8/layout/hChevron3"/>
    <dgm:cxn modelId="{E764D39A-46EC-4777-B7FF-8731BAB6F9FA}" type="presParOf" srcId="{C0215F2F-C884-4A85-BAE4-9910A839303E}" destId="{FDA43078-FC30-4C48-928A-0290E463E2F8}" srcOrd="2" destOrd="0" presId="urn:microsoft.com/office/officeart/2005/8/layout/hChevron3"/>
    <dgm:cxn modelId="{2E1BE0D4-7C7E-44DA-9822-F19707B70331}" type="presParOf" srcId="{C0215F2F-C884-4A85-BAE4-9910A839303E}" destId="{6AB6B36F-7BEA-4BF2-9DCE-0EC0189571A0}" srcOrd="3" destOrd="0" presId="urn:microsoft.com/office/officeart/2005/8/layout/hChevron3"/>
    <dgm:cxn modelId="{0395867A-50AD-489F-AFE3-1066415F797F}" type="presParOf" srcId="{C0215F2F-C884-4A85-BAE4-9910A839303E}" destId="{44C325DF-AE1B-4867-AF3E-4A6C3794DEB0}" srcOrd="4" destOrd="0" presId="urn:microsoft.com/office/officeart/2005/8/layout/hChevron3"/>
  </dgm:cxnLst>
  <dgm:bg>
    <a:solidFill>
      <a:schemeClr val="accent4">
        <a:lumMod val="40000"/>
        <a:lumOff val="60000"/>
      </a:schemeClr>
    </a:solidFill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42966CF-1A3D-40BB-B1FB-6278A32DF445}" type="doc">
      <dgm:prSet loTypeId="urn:microsoft.com/office/officeart/2005/8/layout/hChevron3" loCatId="process" qsTypeId="urn:microsoft.com/office/officeart/2005/8/quickstyle/simple1" qsCatId="simple" csTypeId="urn:microsoft.com/office/officeart/2005/8/colors/accent4_2" csCatId="accent4" phldr="1"/>
      <dgm:spPr/>
    </dgm:pt>
    <dgm:pt modelId="{95C05D02-833C-45E2-9AF0-13CCF47538F2}">
      <dgm:prSet phldrT="[Text]" custT="1"/>
      <dgm:spPr>
        <a:solidFill>
          <a:schemeClr val="accent4">
            <a:lumMod val="40000"/>
            <a:lumOff val="60000"/>
          </a:schemeClr>
        </a:solidFill>
      </dgm:spPr>
      <dgm:t>
        <a:bodyPr/>
        <a:lstStyle/>
        <a:p>
          <a:r>
            <a:rPr lang="en-CA" sz="1600" dirty="0">
              <a:latin typeface="Roboto Condensed Light" panose="02000000000000000000" pitchFamily="2" charset="0"/>
              <a:ea typeface="Roboto Condensed Light" panose="02000000000000000000" pitchFamily="2" charset="0"/>
            </a:rPr>
            <a:t>Automated Tasks</a:t>
          </a:r>
        </a:p>
      </dgm:t>
    </dgm:pt>
    <dgm:pt modelId="{27E8FD39-DA9B-45CC-9A8B-9161103DFFDA}" type="parTrans" cxnId="{4E8255E0-1EF4-4631-99DD-D175613ACC2A}">
      <dgm:prSet/>
      <dgm:spPr/>
      <dgm:t>
        <a:bodyPr/>
        <a:lstStyle/>
        <a:p>
          <a:endParaRPr lang="en-CA" sz="1400"/>
        </a:p>
      </dgm:t>
    </dgm:pt>
    <dgm:pt modelId="{971C0049-3A19-48E4-93C9-027C30B5A451}" type="sibTrans" cxnId="{4E8255E0-1EF4-4631-99DD-D175613ACC2A}">
      <dgm:prSet/>
      <dgm:spPr/>
      <dgm:t>
        <a:bodyPr/>
        <a:lstStyle/>
        <a:p>
          <a:endParaRPr lang="en-CA" sz="1400"/>
        </a:p>
      </dgm:t>
    </dgm:pt>
    <dgm:pt modelId="{4CE13954-CD69-42D4-A092-4E8DEA0DF3A1}">
      <dgm:prSet phldrT="[Text]" custT="1"/>
      <dgm:spPr>
        <a:solidFill>
          <a:schemeClr val="accent4">
            <a:lumMod val="40000"/>
            <a:lumOff val="60000"/>
          </a:schemeClr>
        </a:solidFill>
      </dgm:spPr>
      <dgm:t>
        <a:bodyPr/>
        <a:lstStyle/>
        <a:p>
          <a:r>
            <a:rPr lang="en-US" sz="1600" dirty="0">
              <a:latin typeface="Roboto Condensed Light" panose="02000000000000000000" pitchFamily="2" charset="0"/>
              <a:ea typeface="Roboto Condensed Light" panose="02000000000000000000" pitchFamily="2" charset="0"/>
            </a:rPr>
            <a:t>Intelligent Routing</a:t>
          </a:r>
          <a:endParaRPr lang="en-CA" sz="1600" dirty="0">
            <a:latin typeface="Roboto Condensed Light" panose="02000000000000000000" pitchFamily="2" charset="0"/>
            <a:ea typeface="Roboto Condensed Light" panose="02000000000000000000" pitchFamily="2" charset="0"/>
          </a:endParaRPr>
        </a:p>
      </dgm:t>
    </dgm:pt>
    <dgm:pt modelId="{BAC0E939-FB42-43E0-B8A0-2D68415B02BB}" type="parTrans" cxnId="{49F5295A-AC2D-4706-876C-1021D1280536}">
      <dgm:prSet/>
      <dgm:spPr/>
      <dgm:t>
        <a:bodyPr/>
        <a:lstStyle/>
        <a:p>
          <a:endParaRPr lang="en-CA" sz="1400"/>
        </a:p>
      </dgm:t>
    </dgm:pt>
    <dgm:pt modelId="{C50D0A8C-B2A4-4387-ACED-42AE980D4157}" type="sibTrans" cxnId="{49F5295A-AC2D-4706-876C-1021D1280536}">
      <dgm:prSet/>
      <dgm:spPr/>
      <dgm:t>
        <a:bodyPr/>
        <a:lstStyle/>
        <a:p>
          <a:endParaRPr lang="en-CA" sz="1400"/>
        </a:p>
      </dgm:t>
    </dgm:pt>
    <dgm:pt modelId="{B01EE630-ABEB-4ACD-A2ED-75266EB66B66}">
      <dgm:prSet phldrT="[Text]" custT="1"/>
      <dgm:spPr>
        <a:solidFill>
          <a:schemeClr val="accent4">
            <a:lumMod val="40000"/>
            <a:lumOff val="60000"/>
          </a:schemeClr>
        </a:solidFill>
      </dgm:spPr>
      <dgm:t>
        <a:bodyPr/>
        <a:lstStyle/>
        <a:p>
          <a:r>
            <a:rPr lang="en-US" sz="1600" dirty="0">
              <a:latin typeface="Roboto Condensed Light" panose="02000000000000000000" pitchFamily="2" charset="0"/>
              <a:ea typeface="Roboto Condensed Light" panose="02000000000000000000" pitchFamily="2" charset="0"/>
            </a:rPr>
            <a:t>Notifications</a:t>
          </a:r>
          <a:endParaRPr lang="en-CA" sz="1600" dirty="0">
            <a:latin typeface="Roboto Condensed Light" panose="02000000000000000000" pitchFamily="2" charset="0"/>
            <a:ea typeface="Roboto Condensed Light" panose="02000000000000000000" pitchFamily="2" charset="0"/>
          </a:endParaRPr>
        </a:p>
      </dgm:t>
    </dgm:pt>
    <dgm:pt modelId="{BCF797B6-3B39-4D0C-BF96-45A8CEEBB6B5}" type="parTrans" cxnId="{17C17CDF-F399-4CA4-9D4C-7235C0B940B8}">
      <dgm:prSet/>
      <dgm:spPr/>
      <dgm:t>
        <a:bodyPr/>
        <a:lstStyle/>
        <a:p>
          <a:endParaRPr lang="en-CA" sz="1400"/>
        </a:p>
      </dgm:t>
    </dgm:pt>
    <dgm:pt modelId="{9E5751FA-4661-4BE1-BC82-95927D7A3E4C}" type="sibTrans" cxnId="{17C17CDF-F399-4CA4-9D4C-7235C0B940B8}">
      <dgm:prSet/>
      <dgm:spPr/>
      <dgm:t>
        <a:bodyPr/>
        <a:lstStyle/>
        <a:p>
          <a:endParaRPr lang="en-CA" sz="1400"/>
        </a:p>
      </dgm:t>
    </dgm:pt>
    <dgm:pt modelId="{C0215F2F-C884-4A85-BAE4-9910A839303E}" type="pres">
      <dgm:prSet presAssocID="{542966CF-1A3D-40BB-B1FB-6278A32DF445}" presName="Name0" presStyleCnt="0">
        <dgm:presLayoutVars>
          <dgm:dir/>
          <dgm:resizeHandles val="exact"/>
        </dgm:presLayoutVars>
      </dgm:prSet>
      <dgm:spPr/>
    </dgm:pt>
    <dgm:pt modelId="{B96F0D37-9CF2-416F-B574-A4608EB63080}" type="pres">
      <dgm:prSet presAssocID="{95C05D02-833C-45E2-9AF0-13CCF47538F2}" presName="parTxOnly" presStyleLbl="node1" presStyleIdx="0" presStyleCnt="3" custScaleX="106988" custLinFactNeighborX="22011" custLinFactNeighborY="-7916">
        <dgm:presLayoutVars>
          <dgm:bulletEnabled val="1"/>
        </dgm:presLayoutVars>
      </dgm:prSet>
      <dgm:spPr/>
    </dgm:pt>
    <dgm:pt modelId="{5BA850BC-66CA-4E6A-8D66-8C16A4467070}" type="pres">
      <dgm:prSet presAssocID="{971C0049-3A19-48E4-93C9-027C30B5A451}" presName="parSpace" presStyleCnt="0"/>
      <dgm:spPr/>
    </dgm:pt>
    <dgm:pt modelId="{FDA43078-FC30-4C48-928A-0290E463E2F8}" type="pres">
      <dgm:prSet presAssocID="{4CE13954-CD69-42D4-A092-4E8DEA0DF3A1}" presName="parTxOnly" presStyleLbl="node1" presStyleIdx="1" presStyleCnt="3" custLinFactY="-100000" custLinFactNeighborX="-2421" custLinFactNeighborY="-101917">
        <dgm:presLayoutVars>
          <dgm:bulletEnabled val="1"/>
        </dgm:presLayoutVars>
      </dgm:prSet>
      <dgm:spPr/>
    </dgm:pt>
    <dgm:pt modelId="{6AB6B36F-7BEA-4BF2-9DCE-0EC0189571A0}" type="pres">
      <dgm:prSet presAssocID="{C50D0A8C-B2A4-4387-ACED-42AE980D4157}" presName="parSpace" presStyleCnt="0"/>
      <dgm:spPr/>
    </dgm:pt>
    <dgm:pt modelId="{44C325DF-AE1B-4867-AF3E-4A6C3794DEB0}" type="pres">
      <dgm:prSet presAssocID="{B01EE630-ABEB-4ACD-A2ED-75266EB66B66}" presName="parTxOnly" presStyleLbl="node1" presStyleIdx="2" presStyleCnt="3" custLinFactY="-86462" custLinFactNeighborX="-4268" custLinFactNeighborY="-100000">
        <dgm:presLayoutVars>
          <dgm:bulletEnabled val="1"/>
        </dgm:presLayoutVars>
      </dgm:prSet>
      <dgm:spPr/>
    </dgm:pt>
  </dgm:ptLst>
  <dgm:cxnLst>
    <dgm:cxn modelId="{6CE83606-65F9-4A74-AC73-D55803D78E91}" type="presOf" srcId="{B01EE630-ABEB-4ACD-A2ED-75266EB66B66}" destId="{44C325DF-AE1B-4867-AF3E-4A6C3794DEB0}" srcOrd="0" destOrd="0" presId="urn:microsoft.com/office/officeart/2005/8/layout/hChevron3"/>
    <dgm:cxn modelId="{C22BF53F-ED7B-4666-8BDC-64711BE676B0}" type="presOf" srcId="{4CE13954-CD69-42D4-A092-4E8DEA0DF3A1}" destId="{FDA43078-FC30-4C48-928A-0290E463E2F8}" srcOrd="0" destOrd="0" presId="urn:microsoft.com/office/officeart/2005/8/layout/hChevron3"/>
    <dgm:cxn modelId="{49F5295A-AC2D-4706-876C-1021D1280536}" srcId="{542966CF-1A3D-40BB-B1FB-6278A32DF445}" destId="{4CE13954-CD69-42D4-A092-4E8DEA0DF3A1}" srcOrd="1" destOrd="0" parTransId="{BAC0E939-FB42-43E0-B8A0-2D68415B02BB}" sibTransId="{C50D0A8C-B2A4-4387-ACED-42AE980D4157}"/>
    <dgm:cxn modelId="{3963A3A5-19AC-4BD1-AA9F-682CA3421744}" type="presOf" srcId="{95C05D02-833C-45E2-9AF0-13CCF47538F2}" destId="{B96F0D37-9CF2-416F-B574-A4608EB63080}" srcOrd="0" destOrd="0" presId="urn:microsoft.com/office/officeart/2005/8/layout/hChevron3"/>
    <dgm:cxn modelId="{17C17CDF-F399-4CA4-9D4C-7235C0B940B8}" srcId="{542966CF-1A3D-40BB-B1FB-6278A32DF445}" destId="{B01EE630-ABEB-4ACD-A2ED-75266EB66B66}" srcOrd="2" destOrd="0" parTransId="{BCF797B6-3B39-4D0C-BF96-45A8CEEBB6B5}" sibTransId="{9E5751FA-4661-4BE1-BC82-95927D7A3E4C}"/>
    <dgm:cxn modelId="{4E8255E0-1EF4-4631-99DD-D175613ACC2A}" srcId="{542966CF-1A3D-40BB-B1FB-6278A32DF445}" destId="{95C05D02-833C-45E2-9AF0-13CCF47538F2}" srcOrd="0" destOrd="0" parTransId="{27E8FD39-DA9B-45CC-9A8B-9161103DFFDA}" sibTransId="{971C0049-3A19-48E4-93C9-027C30B5A451}"/>
    <dgm:cxn modelId="{CDCD3BF9-88E6-4D2E-A9EF-8861B384CCBD}" type="presOf" srcId="{542966CF-1A3D-40BB-B1FB-6278A32DF445}" destId="{C0215F2F-C884-4A85-BAE4-9910A839303E}" srcOrd="0" destOrd="0" presId="urn:microsoft.com/office/officeart/2005/8/layout/hChevron3"/>
    <dgm:cxn modelId="{738669C1-8832-41D3-9960-16F7D7D6C7D4}" type="presParOf" srcId="{C0215F2F-C884-4A85-BAE4-9910A839303E}" destId="{B96F0D37-9CF2-416F-B574-A4608EB63080}" srcOrd="0" destOrd="0" presId="urn:microsoft.com/office/officeart/2005/8/layout/hChevron3"/>
    <dgm:cxn modelId="{C8747270-AB85-471C-972A-F1C4C5F42CEB}" type="presParOf" srcId="{C0215F2F-C884-4A85-BAE4-9910A839303E}" destId="{5BA850BC-66CA-4E6A-8D66-8C16A4467070}" srcOrd="1" destOrd="0" presId="urn:microsoft.com/office/officeart/2005/8/layout/hChevron3"/>
    <dgm:cxn modelId="{E764D39A-46EC-4777-B7FF-8731BAB6F9FA}" type="presParOf" srcId="{C0215F2F-C884-4A85-BAE4-9910A839303E}" destId="{FDA43078-FC30-4C48-928A-0290E463E2F8}" srcOrd="2" destOrd="0" presId="urn:microsoft.com/office/officeart/2005/8/layout/hChevron3"/>
    <dgm:cxn modelId="{2E1BE0D4-7C7E-44DA-9822-F19707B70331}" type="presParOf" srcId="{C0215F2F-C884-4A85-BAE4-9910A839303E}" destId="{6AB6B36F-7BEA-4BF2-9DCE-0EC0189571A0}" srcOrd="3" destOrd="0" presId="urn:microsoft.com/office/officeart/2005/8/layout/hChevron3"/>
    <dgm:cxn modelId="{0395867A-50AD-489F-AFE3-1066415F797F}" type="presParOf" srcId="{C0215F2F-C884-4A85-BAE4-9910A839303E}" destId="{44C325DF-AE1B-4867-AF3E-4A6C3794DEB0}" srcOrd="4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542966CF-1A3D-40BB-B1FB-6278A32DF445}" type="doc">
      <dgm:prSet loTypeId="urn:microsoft.com/office/officeart/2005/8/layout/hChevron3" loCatId="process" qsTypeId="urn:microsoft.com/office/officeart/2005/8/quickstyle/simple1" qsCatId="simple" csTypeId="urn:microsoft.com/office/officeart/2005/8/colors/accent4_2" csCatId="accent4" phldr="1"/>
      <dgm:spPr/>
    </dgm:pt>
    <dgm:pt modelId="{95C05D02-833C-45E2-9AF0-13CCF47538F2}">
      <dgm:prSet phldrT="[Text]" custT="1"/>
      <dgm:spPr>
        <a:solidFill>
          <a:schemeClr val="accent4">
            <a:lumMod val="40000"/>
            <a:lumOff val="60000"/>
          </a:schemeClr>
        </a:solidFill>
      </dgm:spPr>
      <dgm:t>
        <a:bodyPr/>
        <a:lstStyle/>
        <a:p>
          <a:r>
            <a:rPr lang="en-US" sz="1800" dirty="0">
              <a:latin typeface="Roboto Condensed Light" panose="02000000000000000000" pitchFamily="2" charset="0"/>
              <a:ea typeface="Roboto Condensed Light" panose="02000000000000000000" pitchFamily="2" charset="0"/>
            </a:rPr>
            <a:t>Chatbot</a:t>
          </a:r>
          <a:endParaRPr lang="en-CA" sz="1800" dirty="0">
            <a:latin typeface="Roboto Condensed Light" panose="02000000000000000000" pitchFamily="2" charset="0"/>
            <a:ea typeface="Roboto Condensed Light" panose="02000000000000000000" pitchFamily="2" charset="0"/>
          </a:endParaRPr>
        </a:p>
      </dgm:t>
    </dgm:pt>
    <dgm:pt modelId="{27E8FD39-DA9B-45CC-9A8B-9161103DFFDA}" type="parTrans" cxnId="{4E8255E0-1EF4-4631-99DD-D175613ACC2A}">
      <dgm:prSet/>
      <dgm:spPr/>
      <dgm:t>
        <a:bodyPr/>
        <a:lstStyle/>
        <a:p>
          <a:endParaRPr lang="en-CA"/>
        </a:p>
      </dgm:t>
    </dgm:pt>
    <dgm:pt modelId="{971C0049-3A19-48E4-93C9-027C30B5A451}" type="sibTrans" cxnId="{4E8255E0-1EF4-4631-99DD-D175613ACC2A}">
      <dgm:prSet/>
      <dgm:spPr/>
      <dgm:t>
        <a:bodyPr/>
        <a:lstStyle/>
        <a:p>
          <a:endParaRPr lang="en-CA"/>
        </a:p>
      </dgm:t>
    </dgm:pt>
    <dgm:pt modelId="{4CE13954-CD69-42D4-A092-4E8DEA0DF3A1}">
      <dgm:prSet phldrT="[Text]" custT="1"/>
      <dgm:spPr>
        <a:solidFill>
          <a:schemeClr val="accent4">
            <a:lumMod val="40000"/>
            <a:lumOff val="60000"/>
          </a:schemeClr>
        </a:solidFill>
      </dgm:spPr>
      <dgm:t>
        <a:bodyPr/>
        <a:lstStyle/>
        <a:p>
          <a:r>
            <a:rPr lang="en-US" sz="1800" dirty="0">
              <a:latin typeface="Roboto Condensed Light" panose="02000000000000000000" pitchFamily="2" charset="0"/>
              <a:ea typeface="Roboto Condensed Light" panose="02000000000000000000" pitchFamily="2" charset="0"/>
            </a:rPr>
            <a:t>Analytics</a:t>
          </a:r>
          <a:endParaRPr lang="en-CA" sz="1800" dirty="0">
            <a:latin typeface="Roboto Condensed Light" panose="02000000000000000000" pitchFamily="2" charset="0"/>
            <a:ea typeface="Roboto Condensed Light" panose="02000000000000000000" pitchFamily="2" charset="0"/>
          </a:endParaRPr>
        </a:p>
      </dgm:t>
    </dgm:pt>
    <dgm:pt modelId="{BAC0E939-FB42-43E0-B8A0-2D68415B02BB}" type="parTrans" cxnId="{49F5295A-AC2D-4706-876C-1021D1280536}">
      <dgm:prSet/>
      <dgm:spPr/>
      <dgm:t>
        <a:bodyPr/>
        <a:lstStyle/>
        <a:p>
          <a:endParaRPr lang="en-CA"/>
        </a:p>
      </dgm:t>
    </dgm:pt>
    <dgm:pt modelId="{C50D0A8C-B2A4-4387-ACED-42AE980D4157}" type="sibTrans" cxnId="{49F5295A-AC2D-4706-876C-1021D1280536}">
      <dgm:prSet/>
      <dgm:spPr/>
      <dgm:t>
        <a:bodyPr/>
        <a:lstStyle/>
        <a:p>
          <a:endParaRPr lang="en-CA"/>
        </a:p>
      </dgm:t>
    </dgm:pt>
    <dgm:pt modelId="{B01EE630-ABEB-4ACD-A2ED-75266EB66B66}">
      <dgm:prSet phldrT="[Text]" custT="1"/>
      <dgm:spPr>
        <a:solidFill>
          <a:schemeClr val="accent4">
            <a:lumMod val="40000"/>
            <a:lumOff val="60000"/>
          </a:schemeClr>
        </a:solidFill>
      </dgm:spPr>
      <dgm:t>
        <a:bodyPr/>
        <a:lstStyle/>
        <a:p>
          <a:r>
            <a:rPr lang="en-CA" sz="1800" dirty="0">
              <a:latin typeface="Roboto Condensed Light" panose="02000000000000000000" pitchFamily="2" charset="0"/>
              <a:ea typeface="Roboto Condensed Light" panose="02000000000000000000" pitchFamily="2" charset="0"/>
            </a:rPr>
            <a:t>Dashboards</a:t>
          </a:r>
        </a:p>
      </dgm:t>
    </dgm:pt>
    <dgm:pt modelId="{BCF797B6-3B39-4D0C-BF96-45A8CEEBB6B5}" type="parTrans" cxnId="{17C17CDF-F399-4CA4-9D4C-7235C0B940B8}">
      <dgm:prSet/>
      <dgm:spPr/>
      <dgm:t>
        <a:bodyPr/>
        <a:lstStyle/>
        <a:p>
          <a:endParaRPr lang="en-CA"/>
        </a:p>
      </dgm:t>
    </dgm:pt>
    <dgm:pt modelId="{9E5751FA-4661-4BE1-BC82-95927D7A3E4C}" type="sibTrans" cxnId="{17C17CDF-F399-4CA4-9D4C-7235C0B940B8}">
      <dgm:prSet/>
      <dgm:spPr/>
      <dgm:t>
        <a:bodyPr/>
        <a:lstStyle/>
        <a:p>
          <a:endParaRPr lang="en-CA"/>
        </a:p>
      </dgm:t>
    </dgm:pt>
    <dgm:pt modelId="{C0215F2F-C884-4A85-BAE4-9910A839303E}" type="pres">
      <dgm:prSet presAssocID="{542966CF-1A3D-40BB-B1FB-6278A32DF445}" presName="Name0" presStyleCnt="0">
        <dgm:presLayoutVars>
          <dgm:dir/>
          <dgm:resizeHandles val="exact"/>
        </dgm:presLayoutVars>
      </dgm:prSet>
      <dgm:spPr/>
    </dgm:pt>
    <dgm:pt modelId="{B96F0D37-9CF2-416F-B574-A4608EB63080}" type="pres">
      <dgm:prSet presAssocID="{95C05D02-833C-45E2-9AF0-13CCF47538F2}" presName="parTxOnly" presStyleLbl="node1" presStyleIdx="0" presStyleCnt="3" custLinFactNeighborY="-3958">
        <dgm:presLayoutVars>
          <dgm:bulletEnabled val="1"/>
        </dgm:presLayoutVars>
      </dgm:prSet>
      <dgm:spPr/>
    </dgm:pt>
    <dgm:pt modelId="{5BA850BC-66CA-4E6A-8D66-8C16A4467070}" type="pres">
      <dgm:prSet presAssocID="{971C0049-3A19-48E4-93C9-027C30B5A451}" presName="parSpace" presStyleCnt="0"/>
      <dgm:spPr/>
    </dgm:pt>
    <dgm:pt modelId="{FDA43078-FC30-4C48-928A-0290E463E2F8}" type="pres">
      <dgm:prSet presAssocID="{4CE13954-CD69-42D4-A092-4E8DEA0DF3A1}" presName="parTxOnly" presStyleLbl="node1" presStyleIdx="1" presStyleCnt="3">
        <dgm:presLayoutVars>
          <dgm:bulletEnabled val="1"/>
        </dgm:presLayoutVars>
      </dgm:prSet>
      <dgm:spPr/>
    </dgm:pt>
    <dgm:pt modelId="{6AB6B36F-7BEA-4BF2-9DCE-0EC0189571A0}" type="pres">
      <dgm:prSet presAssocID="{C50D0A8C-B2A4-4387-ACED-42AE980D4157}" presName="parSpace" presStyleCnt="0"/>
      <dgm:spPr/>
    </dgm:pt>
    <dgm:pt modelId="{44C325DF-AE1B-4867-AF3E-4A6C3794DEB0}" type="pres">
      <dgm:prSet presAssocID="{B01EE630-ABEB-4ACD-A2ED-75266EB66B66}" presName="parTxOnly" presStyleLbl="node1" presStyleIdx="2" presStyleCnt="3">
        <dgm:presLayoutVars>
          <dgm:bulletEnabled val="1"/>
        </dgm:presLayoutVars>
      </dgm:prSet>
      <dgm:spPr/>
    </dgm:pt>
  </dgm:ptLst>
  <dgm:cxnLst>
    <dgm:cxn modelId="{6CE83606-65F9-4A74-AC73-D55803D78E91}" type="presOf" srcId="{B01EE630-ABEB-4ACD-A2ED-75266EB66B66}" destId="{44C325DF-AE1B-4867-AF3E-4A6C3794DEB0}" srcOrd="0" destOrd="0" presId="urn:microsoft.com/office/officeart/2005/8/layout/hChevron3"/>
    <dgm:cxn modelId="{C22BF53F-ED7B-4666-8BDC-64711BE676B0}" type="presOf" srcId="{4CE13954-CD69-42D4-A092-4E8DEA0DF3A1}" destId="{FDA43078-FC30-4C48-928A-0290E463E2F8}" srcOrd="0" destOrd="0" presId="urn:microsoft.com/office/officeart/2005/8/layout/hChevron3"/>
    <dgm:cxn modelId="{49F5295A-AC2D-4706-876C-1021D1280536}" srcId="{542966CF-1A3D-40BB-B1FB-6278A32DF445}" destId="{4CE13954-CD69-42D4-A092-4E8DEA0DF3A1}" srcOrd="1" destOrd="0" parTransId="{BAC0E939-FB42-43E0-B8A0-2D68415B02BB}" sibTransId="{C50D0A8C-B2A4-4387-ACED-42AE980D4157}"/>
    <dgm:cxn modelId="{3963A3A5-19AC-4BD1-AA9F-682CA3421744}" type="presOf" srcId="{95C05D02-833C-45E2-9AF0-13CCF47538F2}" destId="{B96F0D37-9CF2-416F-B574-A4608EB63080}" srcOrd="0" destOrd="0" presId="urn:microsoft.com/office/officeart/2005/8/layout/hChevron3"/>
    <dgm:cxn modelId="{17C17CDF-F399-4CA4-9D4C-7235C0B940B8}" srcId="{542966CF-1A3D-40BB-B1FB-6278A32DF445}" destId="{B01EE630-ABEB-4ACD-A2ED-75266EB66B66}" srcOrd="2" destOrd="0" parTransId="{BCF797B6-3B39-4D0C-BF96-45A8CEEBB6B5}" sibTransId="{9E5751FA-4661-4BE1-BC82-95927D7A3E4C}"/>
    <dgm:cxn modelId="{4E8255E0-1EF4-4631-99DD-D175613ACC2A}" srcId="{542966CF-1A3D-40BB-B1FB-6278A32DF445}" destId="{95C05D02-833C-45E2-9AF0-13CCF47538F2}" srcOrd="0" destOrd="0" parTransId="{27E8FD39-DA9B-45CC-9A8B-9161103DFFDA}" sibTransId="{971C0049-3A19-48E4-93C9-027C30B5A451}"/>
    <dgm:cxn modelId="{CDCD3BF9-88E6-4D2E-A9EF-8861B384CCBD}" type="presOf" srcId="{542966CF-1A3D-40BB-B1FB-6278A32DF445}" destId="{C0215F2F-C884-4A85-BAE4-9910A839303E}" srcOrd="0" destOrd="0" presId="urn:microsoft.com/office/officeart/2005/8/layout/hChevron3"/>
    <dgm:cxn modelId="{738669C1-8832-41D3-9960-16F7D7D6C7D4}" type="presParOf" srcId="{C0215F2F-C884-4A85-BAE4-9910A839303E}" destId="{B96F0D37-9CF2-416F-B574-A4608EB63080}" srcOrd="0" destOrd="0" presId="urn:microsoft.com/office/officeart/2005/8/layout/hChevron3"/>
    <dgm:cxn modelId="{C8747270-AB85-471C-972A-F1C4C5F42CEB}" type="presParOf" srcId="{C0215F2F-C884-4A85-BAE4-9910A839303E}" destId="{5BA850BC-66CA-4E6A-8D66-8C16A4467070}" srcOrd="1" destOrd="0" presId="urn:microsoft.com/office/officeart/2005/8/layout/hChevron3"/>
    <dgm:cxn modelId="{E764D39A-46EC-4777-B7FF-8731BAB6F9FA}" type="presParOf" srcId="{C0215F2F-C884-4A85-BAE4-9910A839303E}" destId="{FDA43078-FC30-4C48-928A-0290E463E2F8}" srcOrd="2" destOrd="0" presId="urn:microsoft.com/office/officeart/2005/8/layout/hChevron3"/>
    <dgm:cxn modelId="{2E1BE0D4-7C7E-44DA-9822-F19707B70331}" type="presParOf" srcId="{C0215F2F-C884-4A85-BAE4-9910A839303E}" destId="{6AB6B36F-7BEA-4BF2-9DCE-0EC0189571A0}" srcOrd="3" destOrd="0" presId="urn:microsoft.com/office/officeart/2005/8/layout/hChevron3"/>
    <dgm:cxn modelId="{0395867A-50AD-489F-AFE3-1066415F797F}" type="presParOf" srcId="{C0215F2F-C884-4A85-BAE4-9910A839303E}" destId="{44C325DF-AE1B-4867-AF3E-4A6C3794DEB0}" srcOrd="4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8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542966CF-1A3D-40BB-B1FB-6278A32DF445}" type="doc">
      <dgm:prSet loTypeId="urn:microsoft.com/office/officeart/2005/8/layout/hChevron3" loCatId="process" qsTypeId="urn:microsoft.com/office/officeart/2005/8/quickstyle/simple1" qsCatId="simple" csTypeId="urn:microsoft.com/office/officeart/2005/8/colors/accent4_2" csCatId="accent4" phldr="1"/>
      <dgm:spPr/>
    </dgm:pt>
    <dgm:pt modelId="{95C05D02-833C-45E2-9AF0-13CCF47538F2}">
      <dgm:prSet phldrT="[Text]" custT="1"/>
      <dgm:spPr>
        <a:solidFill>
          <a:schemeClr val="accent4">
            <a:lumMod val="40000"/>
            <a:lumOff val="60000"/>
          </a:schemeClr>
        </a:solidFill>
      </dgm:spPr>
      <dgm:t>
        <a:bodyPr/>
        <a:lstStyle/>
        <a:p>
          <a:r>
            <a:rPr lang="en-US" sz="1800" dirty="0">
              <a:latin typeface="Roboto Condensed Light" panose="02000000000000000000" pitchFamily="2" charset="0"/>
              <a:ea typeface="Roboto Condensed Light" panose="02000000000000000000" pitchFamily="2" charset="0"/>
            </a:rPr>
            <a:t>ML</a:t>
          </a:r>
          <a:endParaRPr lang="en-CA" sz="1800" dirty="0">
            <a:latin typeface="Roboto Condensed Light" panose="02000000000000000000" pitchFamily="2" charset="0"/>
            <a:ea typeface="Roboto Condensed Light" panose="02000000000000000000" pitchFamily="2" charset="0"/>
          </a:endParaRPr>
        </a:p>
      </dgm:t>
    </dgm:pt>
    <dgm:pt modelId="{27E8FD39-DA9B-45CC-9A8B-9161103DFFDA}" type="parTrans" cxnId="{4E8255E0-1EF4-4631-99DD-D175613ACC2A}">
      <dgm:prSet/>
      <dgm:spPr/>
      <dgm:t>
        <a:bodyPr/>
        <a:lstStyle/>
        <a:p>
          <a:endParaRPr lang="en-CA"/>
        </a:p>
      </dgm:t>
    </dgm:pt>
    <dgm:pt modelId="{971C0049-3A19-48E4-93C9-027C30B5A451}" type="sibTrans" cxnId="{4E8255E0-1EF4-4631-99DD-D175613ACC2A}">
      <dgm:prSet/>
      <dgm:spPr/>
      <dgm:t>
        <a:bodyPr/>
        <a:lstStyle/>
        <a:p>
          <a:endParaRPr lang="en-CA"/>
        </a:p>
      </dgm:t>
    </dgm:pt>
    <dgm:pt modelId="{4CE13954-CD69-42D4-A092-4E8DEA0DF3A1}">
      <dgm:prSet phldrT="[Text]" custT="1"/>
      <dgm:spPr>
        <a:solidFill>
          <a:schemeClr val="accent4">
            <a:lumMod val="40000"/>
            <a:lumOff val="60000"/>
          </a:schemeClr>
        </a:solidFill>
      </dgm:spPr>
      <dgm:t>
        <a:bodyPr/>
        <a:lstStyle/>
        <a:p>
          <a:r>
            <a:rPr lang="en-US" sz="1800" dirty="0">
              <a:latin typeface="Roboto Condensed Light" panose="02000000000000000000" pitchFamily="2" charset="0"/>
              <a:ea typeface="Roboto Condensed Light" panose="02000000000000000000" pitchFamily="2" charset="0"/>
            </a:rPr>
            <a:t>NLP</a:t>
          </a:r>
          <a:endParaRPr lang="en-CA" sz="1800" dirty="0">
            <a:latin typeface="Roboto Condensed Light" panose="02000000000000000000" pitchFamily="2" charset="0"/>
            <a:ea typeface="Roboto Condensed Light" panose="02000000000000000000" pitchFamily="2" charset="0"/>
          </a:endParaRPr>
        </a:p>
      </dgm:t>
    </dgm:pt>
    <dgm:pt modelId="{BAC0E939-FB42-43E0-B8A0-2D68415B02BB}" type="parTrans" cxnId="{49F5295A-AC2D-4706-876C-1021D1280536}">
      <dgm:prSet/>
      <dgm:spPr/>
      <dgm:t>
        <a:bodyPr/>
        <a:lstStyle/>
        <a:p>
          <a:endParaRPr lang="en-CA"/>
        </a:p>
      </dgm:t>
    </dgm:pt>
    <dgm:pt modelId="{C50D0A8C-B2A4-4387-ACED-42AE980D4157}" type="sibTrans" cxnId="{49F5295A-AC2D-4706-876C-1021D1280536}">
      <dgm:prSet/>
      <dgm:spPr/>
      <dgm:t>
        <a:bodyPr/>
        <a:lstStyle/>
        <a:p>
          <a:endParaRPr lang="en-CA"/>
        </a:p>
      </dgm:t>
    </dgm:pt>
    <dgm:pt modelId="{B01EE630-ABEB-4ACD-A2ED-75266EB66B66}">
      <dgm:prSet phldrT="[Text]" custT="1"/>
      <dgm:spPr>
        <a:solidFill>
          <a:schemeClr val="accent4">
            <a:lumMod val="40000"/>
            <a:lumOff val="60000"/>
          </a:schemeClr>
        </a:solidFill>
      </dgm:spPr>
      <dgm:t>
        <a:bodyPr/>
        <a:lstStyle/>
        <a:p>
          <a:r>
            <a:rPr lang="en-US" sz="1800" dirty="0">
              <a:latin typeface="Roboto Condensed Light" panose="02000000000000000000" pitchFamily="2" charset="0"/>
              <a:ea typeface="Roboto Condensed Light" panose="02000000000000000000" pitchFamily="2" charset="0"/>
            </a:rPr>
            <a:t>OCR</a:t>
          </a:r>
          <a:endParaRPr lang="en-CA" sz="1800" dirty="0">
            <a:latin typeface="Roboto Condensed Light" panose="02000000000000000000" pitchFamily="2" charset="0"/>
            <a:ea typeface="Roboto Condensed Light" panose="02000000000000000000" pitchFamily="2" charset="0"/>
          </a:endParaRPr>
        </a:p>
      </dgm:t>
    </dgm:pt>
    <dgm:pt modelId="{BCF797B6-3B39-4D0C-BF96-45A8CEEBB6B5}" type="parTrans" cxnId="{17C17CDF-F399-4CA4-9D4C-7235C0B940B8}">
      <dgm:prSet/>
      <dgm:spPr/>
      <dgm:t>
        <a:bodyPr/>
        <a:lstStyle/>
        <a:p>
          <a:endParaRPr lang="en-CA"/>
        </a:p>
      </dgm:t>
    </dgm:pt>
    <dgm:pt modelId="{9E5751FA-4661-4BE1-BC82-95927D7A3E4C}" type="sibTrans" cxnId="{17C17CDF-F399-4CA4-9D4C-7235C0B940B8}">
      <dgm:prSet/>
      <dgm:spPr/>
      <dgm:t>
        <a:bodyPr/>
        <a:lstStyle/>
        <a:p>
          <a:endParaRPr lang="en-CA"/>
        </a:p>
      </dgm:t>
    </dgm:pt>
    <dgm:pt modelId="{C0215F2F-C884-4A85-BAE4-9910A839303E}" type="pres">
      <dgm:prSet presAssocID="{542966CF-1A3D-40BB-B1FB-6278A32DF445}" presName="Name0" presStyleCnt="0">
        <dgm:presLayoutVars>
          <dgm:dir/>
          <dgm:resizeHandles val="exact"/>
        </dgm:presLayoutVars>
      </dgm:prSet>
      <dgm:spPr/>
    </dgm:pt>
    <dgm:pt modelId="{B96F0D37-9CF2-416F-B574-A4608EB63080}" type="pres">
      <dgm:prSet presAssocID="{95C05D02-833C-45E2-9AF0-13CCF47538F2}" presName="parTxOnly" presStyleLbl="node1" presStyleIdx="0" presStyleCnt="3">
        <dgm:presLayoutVars>
          <dgm:bulletEnabled val="1"/>
        </dgm:presLayoutVars>
      </dgm:prSet>
      <dgm:spPr/>
    </dgm:pt>
    <dgm:pt modelId="{5BA850BC-66CA-4E6A-8D66-8C16A4467070}" type="pres">
      <dgm:prSet presAssocID="{971C0049-3A19-48E4-93C9-027C30B5A451}" presName="parSpace" presStyleCnt="0"/>
      <dgm:spPr/>
    </dgm:pt>
    <dgm:pt modelId="{FDA43078-FC30-4C48-928A-0290E463E2F8}" type="pres">
      <dgm:prSet presAssocID="{4CE13954-CD69-42D4-A092-4E8DEA0DF3A1}" presName="parTxOnly" presStyleLbl="node1" presStyleIdx="1" presStyleCnt="3">
        <dgm:presLayoutVars>
          <dgm:bulletEnabled val="1"/>
        </dgm:presLayoutVars>
      </dgm:prSet>
      <dgm:spPr/>
    </dgm:pt>
    <dgm:pt modelId="{6AB6B36F-7BEA-4BF2-9DCE-0EC0189571A0}" type="pres">
      <dgm:prSet presAssocID="{C50D0A8C-B2A4-4387-ACED-42AE980D4157}" presName="parSpace" presStyleCnt="0"/>
      <dgm:spPr/>
    </dgm:pt>
    <dgm:pt modelId="{44C325DF-AE1B-4867-AF3E-4A6C3794DEB0}" type="pres">
      <dgm:prSet presAssocID="{B01EE630-ABEB-4ACD-A2ED-75266EB66B66}" presName="parTxOnly" presStyleLbl="node1" presStyleIdx="2" presStyleCnt="3" custLinFactNeighborX="3975" custLinFactNeighborY="-39579">
        <dgm:presLayoutVars>
          <dgm:bulletEnabled val="1"/>
        </dgm:presLayoutVars>
      </dgm:prSet>
      <dgm:spPr/>
    </dgm:pt>
  </dgm:ptLst>
  <dgm:cxnLst>
    <dgm:cxn modelId="{6CE83606-65F9-4A74-AC73-D55803D78E91}" type="presOf" srcId="{B01EE630-ABEB-4ACD-A2ED-75266EB66B66}" destId="{44C325DF-AE1B-4867-AF3E-4A6C3794DEB0}" srcOrd="0" destOrd="0" presId="urn:microsoft.com/office/officeart/2005/8/layout/hChevron3"/>
    <dgm:cxn modelId="{C22BF53F-ED7B-4666-8BDC-64711BE676B0}" type="presOf" srcId="{4CE13954-CD69-42D4-A092-4E8DEA0DF3A1}" destId="{FDA43078-FC30-4C48-928A-0290E463E2F8}" srcOrd="0" destOrd="0" presId="urn:microsoft.com/office/officeart/2005/8/layout/hChevron3"/>
    <dgm:cxn modelId="{49F5295A-AC2D-4706-876C-1021D1280536}" srcId="{542966CF-1A3D-40BB-B1FB-6278A32DF445}" destId="{4CE13954-CD69-42D4-A092-4E8DEA0DF3A1}" srcOrd="1" destOrd="0" parTransId="{BAC0E939-FB42-43E0-B8A0-2D68415B02BB}" sibTransId="{C50D0A8C-B2A4-4387-ACED-42AE980D4157}"/>
    <dgm:cxn modelId="{3963A3A5-19AC-4BD1-AA9F-682CA3421744}" type="presOf" srcId="{95C05D02-833C-45E2-9AF0-13CCF47538F2}" destId="{B96F0D37-9CF2-416F-B574-A4608EB63080}" srcOrd="0" destOrd="0" presId="urn:microsoft.com/office/officeart/2005/8/layout/hChevron3"/>
    <dgm:cxn modelId="{17C17CDF-F399-4CA4-9D4C-7235C0B940B8}" srcId="{542966CF-1A3D-40BB-B1FB-6278A32DF445}" destId="{B01EE630-ABEB-4ACD-A2ED-75266EB66B66}" srcOrd="2" destOrd="0" parTransId="{BCF797B6-3B39-4D0C-BF96-45A8CEEBB6B5}" sibTransId="{9E5751FA-4661-4BE1-BC82-95927D7A3E4C}"/>
    <dgm:cxn modelId="{4E8255E0-1EF4-4631-99DD-D175613ACC2A}" srcId="{542966CF-1A3D-40BB-B1FB-6278A32DF445}" destId="{95C05D02-833C-45E2-9AF0-13CCF47538F2}" srcOrd="0" destOrd="0" parTransId="{27E8FD39-DA9B-45CC-9A8B-9161103DFFDA}" sibTransId="{971C0049-3A19-48E4-93C9-027C30B5A451}"/>
    <dgm:cxn modelId="{CDCD3BF9-88E6-4D2E-A9EF-8861B384CCBD}" type="presOf" srcId="{542966CF-1A3D-40BB-B1FB-6278A32DF445}" destId="{C0215F2F-C884-4A85-BAE4-9910A839303E}" srcOrd="0" destOrd="0" presId="urn:microsoft.com/office/officeart/2005/8/layout/hChevron3"/>
    <dgm:cxn modelId="{738669C1-8832-41D3-9960-16F7D7D6C7D4}" type="presParOf" srcId="{C0215F2F-C884-4A85-BAE4-9910A839303E}" destId="{B96F0D37-9CF2-416F-B574-A4608EB63080}" srcOrd="0" destOrd="0" presId="urn:microsoft.com/office/officeart/2005/8/layout/hChevron3"/>
    <dgm:cxn modelId="{C8747270-AB85-471C-972A-F1C4C5F42CEB}" type="presParOf" srcId="{C0215F2F-C884-4A85-BAE4-9910A839303E}" destId="{5BA850BC-66CA-4E6A-8D66-8C16A4467070}" srcOrd="1" destOrd="0" presId="urn:microsoft.com/office/officeart/2005/8/layout/hChevron3"/>
    <dgm:cxn modelId="{E764D39A-46EC-4777-B7FF-8731BAB6F9FA}" type="presParOf" srcId="{C0215F2F-C884-4A85-BAE4-9910A839303E}" destId="{FDA43078-FC30-4C48-928A-0290E463E2F8}" srcOrd="2" destOrd="0" presId="urn:microsoft.com/office/officeart/2005/8/layout/hChevron3"/>
    <dgm:cxn modelId="{2E1BE0D4-7C7E-44DA-9822-F19707B70331}" type="presParOf" srcId="{C0215F2F-C884-4A85-BAE4-9910A839303E}" destId="{6AB6B36F-7BEA-4BF2-9DCE-0EC0189571A0}" srcOrd="3" destOrd="0" presId="urn:microsoft.com/office/officeart/2005/8/layout/hChevron3"/>
    <dgm:cxn modelId="{0395867A-50AD-489F-AFE3-1066415F797F}" type="presParOf" srcId="{C0215F2F-C884-4A85-BAE4-9910A839303E}" destId="{44C325DF-AE1B-4867-AF3E-4A6C3794DEB0}" srcOrd="4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23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74967CFB-7D03-9D41-9C95-24765C4F3616}" type="doc">
      <dgm:prSet loTypeId="urn:microsoft.com/office/officeart/2005/8/layout/hList1" loCatId="list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87BED362-626C-3F4B-B20D-BCA583A0E9AB}">
      <dgm:prSet custT="1"/>
      <dgm:spPr/>
      <dgm:t>
        <a:bodyPr/>
        <a:lstStyle/>
        <a:p>
          <a:r>
            <a:rPr lang="en-US" sz="4000" b="0" dirty="0"/>
            <a:t>Manual Auditing</a:t>
          </a:r>
          <a:endParaRPr lang="en-SA" sz="4000" dirty="0"/>
        </a:p>
      </dgm:t>
    </dgm:pt>
    <dgm:pt modelId="{A943F44D-18A8-1843-BAEA-DCC47699CCE4}" type="parTrans" cxnId="{E671114B-B837-2A4A-A658-9E99F5CFAC12}">
      <dgm:prSet/>
      <dgm:spPr/>
      <dgm:t>
        <a:bodyPr/>
        <a:lstStyle/>
        <a:p>
          <a:endParaRPr lang="en-US"/>
        </a:p>
      </dgm:t>
    </dgm:pt>
    <dgm:pt modelId="{765F71DB-FE10-6343-BB77-B26EB15EE4D4}" type="sibTrans" cxnId="{E671114B-B837-2A4A-A658-9E99F5CFAC12}">
      <dgm:prSet/>
      <dgm:spPr/>
      <dgm:t>
        <a:bodyPr/>
        <a:lstStyle/>
        <a:p>
          <a:endParaRPr lang="en-US"/>
        </a:p>
      </dgm:t>
    </dgm:pt>
    <dgm:pt modelId="{A38AC3B2-B46C-2E4E-A70A-2E993BA3AB4A}">
      <dgm:prSet custT="1"/>
      <dgm:spPr/>
      <dgm:t>
        <a:bodyPr/>
        <a:lstStyle/>
        <a:p>
          <a:r>
            <a:rPr lang="en-US" sz="4000" b="0" dirty="0"/>
            <a:t>Automated Auditing</a:t>
          </a:r>
          <a:endParaRPr lang="en-SA" sz="4000" dirty="0"/>
        </a:p>
      </dgm:t>
    </dgm:pt>
    <dgm:pt modelId="{AA51C97C-06E1-1E4C-99F2-79086B1C9F62}" type="parTrans" cxnId="{4930175C-39DB-5345-AC44-2863CC8FEDB3}">
      <dgm:prSet/>
      <dgm:spPr/>
      <dgm:t>
        <a:bodyPr/>
        <a:lstStyle/>
        <a:p>
          <a:endParaRPr lang="en-US"/>
        </a:p>
      </dgm:t>
    </dgm:pt>
    <dgm:pt modelId="{724CA3BF-F3CF-0E4A-989D-48598605D327}" type="sibTrans" cxnId="{4930175C-39DB-5345-AC44-2863CC8FEDB3}">
      <dgm:prSet/>
      <dgm:spPr/>
      <dgm:t>
        <a:bodyPr/>
        <a:lstStyle/>
        <a:p>
          <a:endParaRPr lang="en-US"/>
        </a:p>
      </dgm:t>
    </dgm:pt>
    <dgm:pt modelId="{0B30C81B-CEC5-FE4F-9715-B7EA843BAAA6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0" i="0"/>
            <a:t>Time and Cost Savings: Automating auditing activities reduces manual effort and saves valuable resources.</a:t>
          </a:r>
          <a:endParaRPr lang="en-US"/>
        </a:p>
      </dgm:t>
    </dgm:pt>
    <dgm:pt modelId="{2015E80E-1958-6846-B99F-D6D193D3074A}" type="parTrans" cxnId="{0CBA00A3-4B50-0E4C-9854-D0EFDC973214}">
      <dgm:prSet/>
      <dgm:spPr/>
      <dgm:t>
        <a:bodyPr/>
        <a:lstStyle/>
        <a:p>
          <a:endParaRPr lang="en-US"/>
        </a:p>
      </dgm:t>
    </dgm:pt>
    <dgm:pt modelId="{0D8B59C9-48C9-004E-8CAF-058191C82597}" type="sibTrans" cxnId="{0CBA00A3-4B50-0E4C-9854-D0EFDC973214}">
      <dgm:prSet/>
      <dgm:spPr/>
      <dgm:t>
        <a:bodyPr/>
        <a:lstStyle/>
        <a:p>
          <a:endParaRPr lang="en-US"/>
        </a:p>
      </dgm:t>
    </dgm:pt>
    <dgm:pt modelId="{F2AA2F4A-5C86-6D4B-B6BE-524AA262C613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0" i="0" dirty="0"/>
            <a:t>Scalability: The automation solution can be easily scaled to handle a large volume of auditing tasks.</a:t>
          </a:r>
        </a:p>
      </dgm:t>
    </dgm:pt>
    <dgm:pt modelId="{C34E542E-980C-AD4E-BB8B-54AAE68DE97F}" type="parTrans" cxnId="{D7DE7F40-A519-3E4E-B259-7921C9076E9B}">
      <dgm:prSet/>
      <dgm:spPr/>
      <dgm:t>
        <a:bodyPr/>
        <a:lstStyle/>
        <a:p>
          <a:endParaRPr lang="en-US"/>
        </a:p>
      </dgm:t>
    </dgm:pt>
    <dgm:pt modelId="{61D3C94C-4369-8848-B305-CB08B90DB2C6}" type="sibTrans" cxnId="{D7DE7F40-A519-3E4E-B259-7921C9076E9B}">
      <dgm:prSet/>
      <dgm:spPr/>
      <dgm:t>
        <a:bodyPr/>
        <a:lstStyle/>
        <a:p>
          <a:endParaRPr lang="en-US"/>
        </a:p>
      </dgm:t>
    </dgm:pt>
    <dgm:pt modelId="{57256840-0AEA-FE46-B4F7-ED05F5641299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0" i="0" dirty="0"/>
            <a:t>Enhanced Compliance: Automation helps enforce standardization and adherence to document templates and content types.</a:t>
          </a:r>
        </a:p>
      </dgm:t>
    </dgm:pt>
    <dgm:pt modelId="{77661037-3F17-EE48-BF6C-C4F14FBC24FE}" type="parTrans" cxnId="{8A411926-5706-5F40-9F37-2C799C3A345E}">
      <dgm:prSet/>
      <dgm:spPr/>
      <dgm:t>
        <a:bodyPr/>
        <a:lstStyle/>
        <a:p>
          <a:endParaRPr lang="en-US"/>
        </a:p>
      </dgm:t>
    </dgm:pt>
    <dgm:pt modelId="{A09AA3BF-3D72-814A-A2BB-B0BEBED525FD}" type="sibTrans" cxnId="{8A411926-5706-5F40-9F37-2C799C3A345E}">
      <dgm:prSet/>
      <dgm:spPr/>
      <dgm:t>
        <a:bodyPr/>
        <a:lstStyle/>
        <a:p>
          <a:endParaRPr lang="en-US"/>
        </a:p>
      </dgm:t>
    </dgm:pt>
    <dgm:pt modelId="{30B4F32C-4E8D-FA48-B8EC-F1DEE0B38827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0" i="0" dirty="0"/>
            <a:t>Time and Cost Expansion: Manual auditing activities require manual effort and consume valuable resources.</a:t>
          </a:r>
          <a:endParaRPr lang="en-US" dirty="0"/>
        </a:p>
      </dgm:t>
    </dgm:pt>
    <dgm:pt modelId="{AC91B112-C55C-6846-8016-FCB4AC0062EE}" type="parTrans" cxnId="{39B0E447-BF84-0C47-85DC-3F5BC92609C4}">
      <dgm:prSet/>
      <dgm:spPr/>
      <dgm:t>
        <a:bodyPr/>
        <a:lstStyle/>
        <a:p>
          <a:endParaRPr lang="en-US"/>
        </a:p>
      </dgm:t>
    </dgm:pt>
    <dgm:pt modelId="{10577E85-1030-E040-BB2D-A35BB7D9C15D}" type="sibTrans" cxnId="{39B0E447-BF84-0C47-85DC-3F5BC92609C4}">
      <dgm:prSet/>
      <dgm:spPr/>
      <dgm:t>
        <a:bodyPr/>
        <a:lstStyle/>
        <a:p>
          <a:endParaRPr lang="en-US"/>
        </a:p>
      </dgm:t>
    </dgm:pt>
    <dgm:pt modelId="{11B61B3E-09B7-184D-995B-997488C86579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0" i="0" dirty="0"/>
            <a:t>Increased Accuracy: RPA eliminates human errors and ensures consistent auditing results.</a:t>
          </a:r>
        </a:p>
      </dgm:t>
    </dgm:pt>
    <dgm:pt modelId="{31B39314-422D-0849-A884-A9569020A6DF}" type="parTrans" cxnId="{3D1841F4-FB1E-1949-B343-5B14D013C3DF}">
      <dgm:prSet/>
      <dgm:spPr/>
      <dgm:t>
        <a:bodyPr/>
        <a:lstStyle/>
        <a:p>
          <a:endParaRPr lang="en-US"/>
        </a:p>
      </dgm:t>
    </dgm:pt>
    <dgm:pt modelId="{2E794A92-A283-6946-A31C-0F360AC87DE8}" type="sibTrans" cxnId="{3D1841F4-FB1E-1949-B343-5B14D013C3DF}">
      <dgm:prSet/>
      <dgm:spPr/>
      <dgm:t>
        <a:bodyPr/>
        <a:lstStyle/>
        <a:p>
          <a:endParaRPr lang="en-US"/>
        </a:p>
      </dgm:t>
    </dgm:pt>
    <dgm:pt modelId="{A5770E3A-95E4-3F4B-8D77-D07FD6ADD47A}">
      <dgm:prSet/>
      <dgm:spPr/>
      <dgm:t>
        <a:bodyPr/>
        <a:lstStyle/>
        <a:p>
          <a:pPr rtl="0">
            <a:buFont typeface="Arial" panose="020B0604020202020204" pitchFamily="34" charset="0"/>
            <a:buChar char="•"/>
          </a:pPr>
          <a:r>
            <a:rPr lang="en-US" b="0" i="0" dirty="0"/>
            <a:t>It takes time to build and implement</a:t>
          </a:r>
        </a:p>
      </dgm:t>
    </dgm:pt>
    <dgm:pt modelId="{6C79E773-4770-3143-881B-239594788159}" type="parTrans" cxnId="{77FE523D-4F01-BD4A-8F8B-DE2D2FCD5EE9}">
      <dgm:prSet/>
      <dgm:spPr/>
      <dgm:t>
        <a:bodyPr/>
        <a:lstStyle/>
        <a:p>
          <a:endParaRPr lang="en-US"/>
        </a:p>
      </dgm:t>
    </dgm:pt>
    <dgm:pt modelId="{BDFF37ED-2FC4-FC41-9DD1-D871163E2420}" type="sibTrans" cxnId="{77FE523D-4F01-BD4A-8F8B-DE2D2FCD5EE9}">
      <dgm:prSet/>
      <dgm:spPr/>
      <dgm:t>
        <a:bodyPr/>
        <a:lstStyle/>
        <a:p>
          <a:endParaRPr lang="en-US"/>
        </a:p>
      </dgm:t>
    </dgm:pt>
    <dgm:pt modelId="{10AA27D8-8F1B-C347-BD75-E18EC5656F2E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0" i="0" dirty="0"/>
            <a:t>Scalability: The manual solution can NOT be easily scaled to handle a large volume of auditing tasks.</a:t>
          </a:r>
        </a:p>
      </dgm:t>
    </dgm:pt>
    <dgm:pt modelId="{43BFF980-5217-9A41-AA2F-F9F83BFF5407}" type="sibTrans" cxnId="{32D3ADC2-12B7-8740-98CF-ACAAA29E3A1C}">
      <dgm:prSet/>
      <dgm:spPr/>
      <dgm:t>
        <a:bodyPr/>
        <a:lstStyle/>
        <a:p>
          <a:endParaRPr lang="en-US"/>
        </a:p>
      </dgm:t>
    </dgm:pt>
    <dgm:pt modelId="{4EDE3975-F9DE-C041-86AD-680FFFC12C5F}" type="parTrans" cxnId="{32D3ADC2-12B7-8740-98CF-ACAAA29E3A1C}">
      <dgm:prSet/>
      <dgm:spPr/>
      <dgm:t>
        <a:bodyPr/>
        <a:lstStyle/>
        <a:p>
          <a:endParaRPr lang="en-US"/>
        </a:p>
      </dgm:t>
    </dgm:pt>
    <dgm:pt modelId="{2073F771-B96D-724F-BA06-EEB7D2503549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0" i="0" dirty="0"/>
            <a:t>Enhanced Compliance: in manual adulting we can not make sure from the auditing standardization presentive, each member has its own perspective.</a:t>
          </a:r>
        </a:p>
      </dgm:t>
    </dgm:pt>
    <dgm:pt modelId="{B06E99B0-D11D-EF42-A71E-DBB1168E8D24}" type="sibTrans" cxnId="{1521BD6E-9F9A-B54F-8EBC-B60188A196B0}">
      <dgm:prSet/>
      <dgm:spPr/>
      <dgm:t>
        <a:bodyPr/>
        <a:lstStyle/>
        <a:p>
          <a:endParaRPr lang="en-US"/>
        </a:p>
      </dgm:t>
    </dgm:pt>
    <dgm:pt modelId="{86FEEEDC-D549-7246-AD44-7297B0AB29E6}" type="parTrans" cxnId="{1521BD6E-9F9A-B54F-8EBC-B60188A196B0}">
      <dgm:prSet/>
      <dgm:spPr/>
      <dgm:t>
        <a:bodyPr/>
        <a:lstStyle/>
        <a:p>
          <a:endParaRPr lang="en-US"/>
        </a:p>
      </dgm:t>
    </dgm:pt>
    <dgm:pt modelId="{E9489E61-FB9F-774D-903E-79BC1C34922B}">
      <dgm:prSet/>
      <dgm:spPr/>
      <dgm:t>
        <a:bodyPr/>
        <a:lstStyle/>
        <a:p>
          <a:pPr rtl="0">
            <a:buFont typeface="Arial" panose="020B0604020202020204" pitchFamily="34" charset="0"/>
            <a:buChar char="•"/>
          </a:pPr>
          <a:r>
            <a:rPr lang="en-US" b="0" i="0" dirty="0"/>
            <a:t>Easy to leverage and can start immediately</a:t>
          </a:r>
        </a:p>
      </dgm:t>
    </dgm:pt>
    <dgm:pt modelId="{942DF9B1-3020-B74D-8D8C-2C49859B2404}" type="sibTrans" cxnId="{7A26D9C6-8FE5-4B4C-8BB1-E28766A8437C}">
      <dgm:prSet/>
      <dgm:spPr/>
      <dgm:t>
        <a:bodyPr/>
        <a:lstStyle/>
        <a:p>
          <a:endParaRPr lang="en-US"/>
        </a:p>
      </dgm:t>
    </dgm:pt>
    <dgm:pt modelId="{53E0082C-5714-AA48-8BCD-B0F4ACF1EEEB}" type="parTrans" cxnId="{7A26D9C6-8FE5-4B4C-8BB1-E28766A8437C}">
      <dgm:prSet/>
      <dgm:spPr/>
      <dgm:t>
        <a:bodyPr/>
        <a:lstStyle/>
        <a:p>
          <a:endParaRPr lang="en-US"/>
        </a:p>
      </dgm:t>
    </dgm:pt>
    <dgm:pt modelId="{7B7C5BFC-2D22-6C45-8689-FAD210AA70C0}" type="pres">
      <dgm:prSet presAssocID="{74967CFB-7D03-9D41-9C95-24765C4F3616}" presName="Name0" presStyleCnt="0">
        <dgm:presLayoutVars>
          <dgm:dir/>
          <dgm:animLvl val="lvl"/>
          <dgm:resizeHandles val="exact"/>
        </dgm:presLayoutVars>
      </dgm:prSet>
      <dgm:spPr/>
    </dgm:pt>
    <dgm:pt modelId="{573CA5F0-443A-BC49-9ECE-0EA6F61934B8}" type="pres">
      <dgm:prSet presAssocID="{87BED362-626C-3F4B-B20D-BCA583A0E9AB}" presName="composite" presStyleCnt="0"/>
      <dgm:spPr/>
    </dgm:pt>
    <dgm:pt modelId="{93C864AA-B346-2A48-B033-366A15F18D1B}" type="pres">
      <dgm:prSet presAssocID="{87BED362-626C-3F4B-B20D-BCA583A0E9AB}" presName="parTx" presStyleLbl="alignNode1" presStyleIdx="0" presStyleCnt="2">
        <dgm:presLayoutVars>
          <dgm:chMax val="0"/>
          <dgm:chPref val="0"/>
          <dgm:bulletEnabled val="1"/>
        </dgm:presLayoutVars>
      </dgm:prSet>
      <dgm:spPr/>
    </dgm:pt>
    <dgm:pt modelId="{0A58AAF8-6887-5B4F-8959-F79FA8C0BB4D}" type="pres">
      <dgm:prSet presAssocID="{87BED362-626C-3F4B-B20D-BCA583A0E9AB}" presName="desTx" presStyleLbl="alignAccFollowNode1" presStyleIdx="0" presStyleCnt="2">
        <dgm:presLayoutVars>
          <dgm:bulletEnabled val="1"/>
        </dgm:presLayoutVars>
      </dgm:prSet>
      <dgm:spPr/>
    </dgm:pt>
    <dgm:pt modelId="{38ABC7B0-7D12-AE4D-BDFD-0E4BDAE804AB}" type="pres">
      <dgm:prSet presAssocID="{765F71DB-FE10-6343-BB77-B26EB15EE4D4}" presName="space" presStyleCnt="0"/>
      <dgm:spPr/>
    </dgm:pt>
    <dgm:pt modelId="{B3A20A05-985E-754E-8486-EB77A2BE86D1}" type="pres">
      <dgm:prSet presAssocID="{A38AC3B2-B46C-2E4E-A70A-2E993BA3AB4A}" presName="composite" presStyleCnt="0"/>
      <dgm:spPr/>
    </dgm:pt>
    <dgm:pt modelId="{EDD15E9F-83A2-D842-AE77-6CF9E14B9D95}" type="pres">
      <dgm:prSet presAssocID="{A38AC3B2-B46C-2E4E-A70A-2E993BA3AB4A}" presName="parTx" presStyleLbl="alignNode1" presStyleIdx="1" presStyleCnt="2">
        <dgm:presLayoutVars>
          <dgm:chMax val="0"/>
          <dgm:chPref val="0"/>
          <dgm:bulletEnabled val="1"/>
        </dgm:presLayoutVars>
      </dgm:prSet>
      <dgm:spPr/>
    </dgm:pt>
    <dgm:pt modelId="{6219B70D-5248-2548-BBA9-3E00A28347B7}" type="pres">
      <dgm:prSet presAssocID="{A38AC3B2-B46C-2E4E-A70A-2E993BA3AB4A}" presName="desTx" presStyleLbl="alignAccFollowNode1" presStyleIdx="1" presStyleCnt="2">
        <dgm:presLayoutVars>
          <dgm:bulletEnabled val="1"/>
        </dgm:presLayoutVars>
      </dgm:prSet>
      <dgm:spPr/>
    </dgm:pt>
  </dgm:ptLst>
  <dgm:cxnLst>
    <dgm:cxn modelId="{8A411926-5706-5F40-9F37-2C799C3A345E}" srcId="{A38AC3B2-B46C-2E4E-A70A-2E993BA3AB4A}" destId="{57256840-0AEA-FE46-B4F7-ED05F5641299}" srcOrd="2" destOrd="0" parTransId="{77661037-3F17-EE48-BF6C-C4F14FBC24FE}" sibTransId="{A09AA3BF-3D72-814A-A2BB-B0BEBED525FD}"/>
    <dgm:cxn modelId="{1C45DE2D-CD7D-1D4E-A082-9A659C163036}" type="presOf" srcId="{F2AA2F4A-5C86-6D4B-B6BE-524AA262C613}" destId="{6219B70D-5248-2548-BBA9-3E00A28347B7}" srcOrd="0" destOrd="1" presId="urn:microsoft.com/office/officeart/2005/8/layout/hList1"/>
    <dgm:cxn modelId="{DD9A3B38-38C8-844F-92F9-152172710796}" type="presOf" srcId="{0B30C81B-CEC5-FE4F-9715-B7EA843BAAA6}" destId="{6219B70D-5248-2548-BBA9-3E00A28347B7}" srcOrd="0" destOrd="0" presId="urn:microsoft.com/office/officeart/2005/8/layout/hList1"/>
    <dgm:cxn modelId="{77FE523D-4F01-BD4A-8F8B-DE2D2FCD5EE9}" srcId="{A38AC3B2-B46C-2E4E-A70A-2E993BA3AB4A}" destId="{A5770E3A-95E4-3F4B-8D77-D07FD6ADD47A}" srcOrd="4" destOrd="0" parTransId="{6C79E773-4770-3143-881B-239594788159}" sibTransId="{BDFF37ED-2FC4-FC41-9DD1-D871163E2420}"/>
    <dgm:cxn modelId="{D7DE7F40-A519-3E4E-B259-7921C9076E9B}" srcId="{A38AC3B2-B46C-2E4E-A70A-2E993BA3AB4A}" destId="{F2AA2F4A-5C86-6D4B-B6BE-524AA262C613}" srcOrd="1" destOrd="0" parTransId="{C34E542E-980C-AD4E-BB8B-54AAE68DE97F}" sibTransId="{61D3C94C-4369-8848-B305-CB08B90DB2C6}"/>
    <dgm:cxn modelId="{4930175C-39DB-5345-AC44-2863CC8FEDB3}" srcId="{74967CFB-7D03-9D41-9C95-24765C4F3616}" destId="{A38AC3B2-B46C-2E4E-A70A-2E993BA3AB4A}" srcOrd="1" destOrd="0" parTransId="{AA51C97C-06E1-1E4C-99F2-79086B1C9F62}" sibTransId="{724CA3BF-F3CF-0E4A-989D-48598605D327}"/>
    <dgm:cxn modelId="{93DF6963-AE18-E14B-BA07-AEE0896E89D1}" type="presOf" srcId="{A38AC3B2-B46C-2E4E-A70A-2E993BA3AB4A}" destId="{EDD15E9F-83A2-D842-AE77-6CF9E14B9D95}" srcOrd="0" destOrd="0" presId="urn:microsoft.com/office/officeart/2005/8/layout/hList1"/>
    <dgm:cxn modelId="{29BED044-9056-E047-AE50-05F121F0B3CE}" type="presOf" srcId="{74967CFB-7D03-9D41-9C95-24765C4F3616}" destId="{7B7C5BFC-2D22-6C45-8689-FAD210AA70C0}" srcOrd="0" destOrd="0" presId="urn:microsoft.com/office/officeart/2005/8/layout/hList1"/>
    <dgm:cxn modelId="{39B0E447-BF84-0C47-85DC-3F5BC92609C4}" srcId="{87BED362-626C-3F4B-B20D-BCA583A0E9AB}" destId="{30B4F32C-4E8D-FA48-B8EC-F1DEE0B38827}" srcOrd="0" destOrd="0" parTransId="{AC91B112-C55C-6846-8016-FCB4AC0062EE}" sibTransId="{10577E85-1030-E040-BB2D-A35BB7D9C15D}"/>
    <dgm:cxn modelId="{E671114B-B837-2A4A-A658-9E99F5CFAC12}" srcId="{74967CFB-7D03-9D41-9C95-24765C4F3616}" destId="{87BED362-626C-3F4B-B20D-BCA583A0E9AB}" srcOrd="0" destOrd="0" parTransId="{A943F44D-18A8-1843-BAEA-DCC47699CCE4}" sibTransId="{765F71DB-FE10-6343-BB77-B26EB15EE4D4}"/>
    <dgm:cxn modelId="{6B759B4D-C957-CE4A-B445-49C55D286B6F}" type="presOf" srcId="{57256840-0AEA-FE46-B4F7-ED05F5641299}" destId="{6219B70D-5248-2548-BBA9-3E00A28347B7}" srcOrd="0" destOrd="2" presId="urn:microsoft.com/office/officeart/2005/8/layout/hList1"/>
    <dgm:cxn modelId="{1521BD6E-9F9A-B54F-8EBC-B60188A196B0}" srcId="{87BED362-626C-3F4B-B20D-BCA583A0E9AB}" destId="{2073F771-B96D-724F-BA06-EEB7D2503549}" srcOrd="2" destOrd="0" parTransId="{86FEEEDC-D549-7246-AD44-7297B0AB29E6}" sibTransId="{B06E99B0-D11D-EF42-A71E-DBB1168E8D24}"/>
    <dgm:cxn modelId="{2BDDD956-F88A-824A-A328-EE3B2F244A08}" type="presOf" srcId="{87BED362-626C-3F4B-B20D-BCA583A0E9AB}" destId="{93C864AA-B346-2A48-B033-366A15F18D1B}" srcOrd="0" destOrd="0" presId="urn:microsoft.com/office/officeart/2005/8/layout/hList1"/>
    <dgm:cxn modelId="{A376E882-54E0-2E4F-AEB9-D266E384BE49}" type="presOf" srcId="{A5770E3A-95E4-3F4B-8D77-D07FD6ADD47A}" destId="{6219B70D-5248-2548-BBA9-3E00A28347B7}" srcOrd="0" destOrd="4" presId="urn:microsoft.com/office/officeart/2005/8/layout/hList1"/>
    <dgm:cxn modelId="{08E4E789-0F48-A142-BE4A-1A7DAE1DB6F1}" type="presOf" srcId="{E9489E61-FB9F-774D-903E-79BC1C34922B}" destId="{0A58AAF8-6887-5B4F-8959-F79FA8C0BB4D}" srcOrd="0" destOrd="3" presId="urn:microsoft.com/office/officeart/2005/8/layout/hList1"/>
    <dgm:cxn modelId="{5661A397-24F9-3348-8DB0-815A64A74A35}" type="presOf" srcId="{10AA27D8-8F1B-C347-BD75-E18EC5656F2E}" destId="{0A58AAF8-6887-5B4F-8959-F79FA8C0BB4D}" srcOrd="0" destOrd="1" presId="urn:microsoft.com/office/officeart/2005/8/layout/hList1"/>
    <dgm:cxn modelId="{0CBA00A3-4B50-0E4C-9854-D0EFDC973214}" srcId="{A38AC3B2-B46C-2E4E-A70A-2E993BA3AB4A}" destId="{0B30C81B-CEC5-FE4F-9715-B7EA843BAAA6}" srcOrd="0" destOrd="0" parTransId="{2015E80E-1958-6846-B99F-D6D193D3074A}" sibTransId="{0D8B59C9-48C9-004E-8CAF-058191C82597}"/>
    <dgm:cxn modelId="{06ABE4A8-0CD2-A24B-A830-90BC52632235}" type="presOf" srcId="{2073F771-B96D-724F-BA06-EEB7D2503549}" destId="{0A58AAF8-6887-5B4F-8959-F79FA8C0BB4D}" srcOrd="0" destOrd="2" presId="urn:microsoft.com/office/officeart/2005/8/layout/hList1"/>
    <dgm:cxn modelId="{AAA17FAD-9639-0547-B024-BC65F4A85C36}" type="presOf" srcId="{11B61B3E-09B7-184D-995B-997488C86579}" destId="{6219B70D-5248-2548-BBA9-3E00A28347B7}" srcOrd="0" destOrd="3" presId="urn:microsoft.com/office/officeart/2005/8/layout/hList1"/>
    <dgm:cxn modelId="{17D634B6-B5E7-584A-88D5-9D31CC99CAA7}" type="presOf" srcId="{30B4F32C-4E8D-FA48-B8EC-F1DEE0B38827}" destId="{0A58AAF8-6887-5B4F-8959-F79FA8C0BB4D}" srcOrd="0" destOrd="0" presId="urn:microsoft.com/office/officeart/2005/8/layout/hList1"/>
    <dgm:cxn modelId="{32D3ADC2-12B7-8740-98CF-ACAAA29E3A1C}" srcId="{87BED362-626C-3F4B-B20D-BCA583A0E9AB}" destId="{10AA27D8-8F1B-C347-BD75-E18EC5656F2E}" srcOrd="1" destOrd="0" parTransId="{4EDE3975-F9DE-C041-86AD-680FFFC12C5F}" sibTransId="{43BFF980-5217-9A41-AA2F-F9F83BFF5407}"/>
    <dgm:cxn modelId="{7A26D9C6-8FE5-4B4C-8BB1-E28766A8437C}" srcId="{87BED362-626C-3F4B-B20D-BCA583A0E9AB}" destId="{E9489E61-FB9F-774D-903E-79BC1C34922B}" srcOrd="3" destOrd="0" parTransId="{53E0082C-5714-AA48-8BCD-B0F4ACF1EEEB}" sibTransId="{942DF9B1-3020-B74D-8D8C-2C49859B2404}"/>
    <dgm:cxn modelId="{3D1841F4-FB1E-1949-B343-5B14D013C3DF}" srcId="{A38AC3B2-B46C-2E4E-A70A-2E993BA3AB4A}" destId="{11B61B3E-09B7-184D-995B-997488C86579}" srcOrd="3" destOrd="0" parTransId="{31B39314-422D-0849-A884-A9569020A6DF}" sibTransId="{2E794A92-A283-6946-A31C-0F360AC87DE8}"/>
    <dgm:cxn modelId="{43C0FEA7-B17C-7940-91F5-A74821DBE217}" type="presParOf" srcId="{7B7C5BFC-2D22-6C45-8689-FAD210AA70C0}" destId="{573CA5F0-443A-BC49-9ECE-0EA6F61934B8}" srcOrd="0" destOrd="0" presId="urn:microsoft.com/office/officeart/2005/8/layout/hList1"/>
    <dgm:cxn modelId="{0B7B9443-E533-BE47-AD0F-6E3AD7C5341D}" type="presParOf" srcId="{573CA5F0-443A-BC49-9ECE-0EA6F61934B8}" destId="{93C864AA-B346-2A48-B033-366A15F18D1B}" srcOrd="0" destOrd="0" presId="urn:microsoft.com/office/officeart/2005/8/layout/hList1"/>
    <dgm:cxn modelId="{5EAAC467-3EAE-E04A-B974-0E752361E67D}" type="presParOf" srcId="{573CA5F0-443A-BC49-9ECE-0EA6F61934B8}" destId="{0A58AAF8-6887-5B4F-8959-F79FA8C0BB4D}" srcOrd="1" destOrd="0" presId="urn:microsoft.com/office/officeart/2005/8/layout/hList1"/>
    <dgm:cxn modelId="{9A8894B7-C2FC-DF4D-9F9F-4323190638F7}" type="presParOf" srcId="{7B7C5BFC-2D22-6C45-8689-FAD210AA70C0}" destId="{38ABC7B0-7D12-AE4D-BDFD-0E4BDAE804AB}" srcOrd="1" destOrd="0" presId="urn:microsoft.com/office/officeart/2005/8/layout/hList1"/>
    <dgm:cxn modelId="{E515F3EB-907D-F749-BB40-C3BA25B6751A}" type="presParOf" srcId="{7B7C5BFC-2D22-6C45-8689-FAD210AA70C0}" destId="{B3A20A05-985E-754E-8486-EB77A2BE86D1}" srcOrd="2" destOrd="0" presId="urn:microsoft.com/office/officeart/2005/8/layout/hList1"/>
    <dgm:cxn modelId="{5FF8E935-1566-1F4A-B8AD-8749727D1B22}" type="presParOf" srcId="{B3A20A05-985E-754E-8486-EB77A2BE86D1}" destId="{EDD15E9F-83A2-D842-AE77-6CF9E14B9D95}" srcOrd="0" destOrd="0" presId="urn:microsoft.com/office/officeart/2005/8/layout/hList1"/>
    <dgm:cxn modelId="{89B8C0AD-C53B-D543-9C6E-6EA5852594F9}" type="presParOf" srcId="{B3A20A05-985E-754E-8486-EB77A2BE86D1}" destId="{6219B70D-5248-2548-BBA9-3E00A28347B7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6EB3FEBF-7F92-A946-91E9-1EC016F91312}" type="doc">
      <dgm:prSet loTypeId="urn:microsoft.com/office/officeart/2005/8/layout/hProcess9" loCatId="" qsTypeId="urn:microsoft.com/office/officeart/2005/8/quickstyle/simple1" qsCatId="simple" csTypeId="urn:microsoft.com/office/officeart/2005/8/colors/accent1_2" csCatId="accent1" phldr="1"/>
      <dgm:spPr/>
    </dgm:pt>
    <dgm:pt modelId="{7043A4D2-E846-5142-A8FB-15BD5D56E33D}">
      <dgm:prSet phldrT="[Text]"/>
      <dgm:spPr>
        <a:blipFill rotWithShape="0">
          <a:blip xmlns:r="http://schemas.openxmlformats.org/officeDocument/2006/relationships" r:embed="rId1"/>
          <a:srcRect/>
          <a:stretch>
            <a:fillRect t="-9000" b="-9000"/>
          </a:stretch>
        </a:blipFill>
      </dgm:spPr>
      <dgm:t>
        <a:bodyPr/>
        <a:lstStyle/>
        <a:p>
          <a:pPr rtl="0"/>
          <a:r>
            <a:rPr lang="en-US" dirty="0"/>
            <a:t> </a:t>
          </a:r>
        </a:p>
      </dgm:t>
    </dgm:pt>
    <dgm:pt modelId="{B07E8C48-30DB-E545-9F35-1B6AA15029EF}" type="parTrans" cxnId="{149BCB78-0428-534D-B618-080F55651CB5}">
      <dgm:prSet/>
      <dgm:spPr/>
      <dgm:t>
        <a:bodyPr/>
        <a:lstStyle/>
        <a:p>
          <a:endParaRPr lang="en-US"/>
        </a:p>
      </dgm:t>
    </dgm:pt>
    <dgm:pt modelId="{9E760943-4DCA-6A4A-9275-C4AB3D278800}" type="sibTrans" cxnId="{149BCB78-0428-534D-B618-080F55651CB5}">
      <dgm:prSet/>
      <dgm:spPr/>
      <dgm:t>
        <a:bodyPr/>
        <a:lstStyle/>
        <a:p>
          <a:endParaRPr lang="en-US"/>
        </a:p>
      </dgm:t>
    </dgm:pt>
    <dgm:pt modelId="{CF6279AE-F021-194B-9F33-D2E4D3538AF3}">
      <dgm:prSet phldrT="[Text]"/>
      <dgm:spPr/>
      <dgm:t>
        <a:bodyPr/>
        <a:lstStyle/>
        <a:p>
          <a:pPr rtl="0"/>
          <a:r>
            <a:rPr lang="en-US" dirty="0"/>
            <a:t>VEA</a:t>
          </a:r>
        </a:p>
      </dgm:t>
    </dgm:pt>
    <dgm:pt modelId="{C25BDE9A-5EA0-8D41-860B-58CD8062C0E4}" type="parTrans" cxnId="{D24E3622-3A1A-E545-8B29-B7065D7B155F}">
      <dgm:prSet/>
      <dgm:spPr/>
      <dgm:t>
        <a:bodyPr/>
        <a:lstStyle/>
        <a:p>
          <a:endParaRPr lang="en-US"/>
        </a:p>
      </dgm:t>
    </dgm:pt>
    <dgm:pt modelId="{06C3DBF0-3767-0648-8EF0-0EF55718D1D2}" type="sibTrans" cxnId="{D24E3622-3A1A-E545-8B29-B7065D7B155F}">
      <dgm:prSet/>
      <dgm:spPr/>
      <dgm:t>
        <a:bodyPr/>
        <a:lstStyle/>
        <a:p>
          <a:endParaRPr lang="en-US"/>
        </a:p>
      </dgm:t>
    </dgm:pt>
    <dgm:pt modelId="{CBFF9609-5CA0-4C44-8A99-EBF228C6CC9A}">
      <dgm:prSet phldrT="[Text]"/>
      <dgm:spPr/>
      <dgm:t>
        <a:bodyPr/>
        <a:lstStyle/>
        <a:p>
          <a:pPr rtl="0"/>
          <a:r>
            <a:rPr lang="en-US" dirty="0"/>
            <a:t>NIC</a:t>
          </a:r>
        </a:p>
      </dgm:t>
    </dgm:pt>
    <dgm:pt modelId="{7DC842B7-C16A-074A-9005-24F5DDF12577}" type="parTrans" cxnId="{DE4C2397-23DD-CB4A-BF30-AB9584CCA613}">
      <dgm:prSet/>
      <dgm:spPr/>
      <dgm:t>
        <a:bodyPr/>
        <a:lstStyle/>
        <a:p>
          <a:endParaRPr lang="en-US"/>
        </a:p>
      </dgm:t>
    </dgm:pt>
    <dgm:pt modelId="{DD6E2252-9CC2-3348-B253-080F53C7135E}" type="sibTrans" cxnId="{DE4C2397-23DD-CB4A-BF30-AB9584CCA613}">
      <dgm:prSet/>
      <dgm:spPr/>
      <dgm:t>
        <a:bodyPr/>
        <a:lstStyle/>
        <a:p>
          <a:endParaRPr lang="en-US"/>
        </a:p>
      </dgm:t>
    </dgm:pt>
    <dgm:pt modelId="{53568F82-EF85-FF4B-B661-53CC0FEFD8C2}" type="pres">
      <dgm:prSet presAssocID="{6EB3FEBF-7F92-A946-91E9-1EC016F91312}" presName="CompostProcess" presStyleCnt="0">
        <dgm:presLayoutVars>
          <dgm:dir/>
          <dgm:resizeHandles val="exact"/>
        </dgm:presLayoutVars>
      </dgm:prSet>
      <dgm:spPr/>
    </dgm:pt>
    <dgm:pt modelId="{7A6896AB-0B4D-1A4F-B387-FC202DEBBDFC}" type="pres">
      <dgm:prSet presAssocID="{6EB3FEBF-7F92-A946-91E9-1EC016F91312}" presName="arrow" presStyleLbl="bgShp" presStyleIdx="0" presStyleCnt="1"/>
      <dgm:spPr/>
    </dgm:pt>
    <dgm:pt modelId="{23B0B405-E312-B340-96C1-FC5D7B291009}" type="pres">
      <dgm:prSet presAssocID="{6EB3FEBF-7F92-A946-91E9-1EC016F91312}" presName="linearProcess" presStyleCnt="0"/>
      <dgm:spPr/>
    </dgm:pt>
    <dgm:pt modelId="{6EC38F21-8D69-5A46-BD5B-F829307E7B2F}" type="pres">
      <dgm:prSet presAssocID="{7043A4D2-E846-5142-A8FB-15BD5D56E33D}" presName="textNode" presStyleLbl="node1" presStyleIdx="0" presStyleCnt="3">
        <dgm:presLayoutVars>
          <dgm:bulletEnabled val="1"/>
        </dgm:presLayoutVars>
      </dgm:prSet>
      <dgm:spPr/>
    </dgm:pt>
    <dgm:pt modelId="{1F9BE8FD-25D3-E747-87E2-121CC07E77E5}" type="pres">
      <dgm:prSet presAssocID="{9E760943-4DCA-6A4A-9275-C4AB3D278800}" presName="sibTrans" presStyleCnt="0"/>
      <dgm:spPr/>
    </dgm:pt>
    <dgm:pt modelId="{B2E4E402-83A9-124E-8E15-3BE4945F5DD4}" type="pres">
      <dgm:prSet presAssocID="{CF6279AE-F021-194B-9F33-D2E4D3538AF3}" presName="textNode" presStyleLbl="node1" presStyleIdx="1" presStyleCnt="3">
        <dgm:presLayoutVars>
          <dgm:bulletEnabled val="1"/>
        </dgm:presLayoutVars>
      </dgm:prSet>
      <dgm:spPr/>
    </dgm:pt>
    <dgm:pt modelId="{F6803948-2374-4748-B66E-ED7D6A6E4F0D}" type="pres">
      <dgm:prSet presAssocID="{06C3DBF0-3767-0648-8EF0-0EF55718D1D2}" presName="sibTrans" presStyleCnt="0"/>
      <dgm:spPr/>
    </dgm:pt>
    <dgm:pt modelId="{DE418755-8D86-ED46-BA6D-6F8DAA6E8BD2}" type="pres">
      <dgm:prSet presAssocID="{CBFF9609-5CA0-4C44-8A99-EBF228C6CC9A}" presName="textNode" presStyleLbl="node1" presStyleIdx="2" presStyleCnt="3">
        <dgm:presLayoutVars>
          <dgm:bulletEnabled val="1"/>
        </dgm:presLayoutVars>
      </dgm:prSet>
      <dgm:spPr/>
    </dgm:pt>
  </dgm:ptLst>
  <dgm:cxnLst>
    <dgm:cxn modelId="{D24E3622-3A1A-E545-8B29-B7065D7B155F}" srcId="{6EB3FEBF-7F92-A946-91E9-1EC016F91312}" destId="{CF6279AE-F021-194B-9F33-D2E4D3538AF3}" srcOrd="1" destOrd="0" parTransId="{C25BDE9A-5EA0-8D41-860B-58CD8062C0E4}" sibTransId="{06C3DBF0-3767-0648-8EF0-0EF55718D1D2}"/>
    <dgm:cxn modelId="{43F0282E-93A1-184A-BC98-275FD6CE5C91}" type="presOf" srcId="{CBFF9609-5CA0-4C44-8A99-EBF228C6CC9A}" destId="{DE418755-8D86-ED46-BA6D-6F8DAA6E8BD2}" srcOrd="0" destOrd="0" presId="urn:microsoft.com/office/officeart/2005/8/layout/hProcess9"/>
    <dgm:cxn modelId="{F9810472-6FCB-6D49-B869-1C8593751F58}" type="presOf" srcId="{CF6279AE-F021-194B-9F33-D2E4D3538AF3}" destId="{B2E4E402-83A9-124E-8E15-3BE4945F5DD4}" srcOrd="0" destOrd="0" presId="urn:microsoft.com/office/officeart/2005/8/layout/hProcess9"/>
    <dgm:cxn modelId="{06E5A474-F6D6-154D-AB81-8206695CE734}" type="presOf" srcId="{7043A4D2-E846-5142-A8FB-15BD5D56E33D}" destId="{6EC38F21-8D69-5A46-BD5B-F829307E7B2F}" srcOrd="0" destOrd="0" presId="urn:microsoft.com/office/officeart/2005/8/layout/hProcess9"/>
    <dgm:cxn modelId="{149BCB78-0428-534D-B618-080F55651CB5}" srcId="{6EB3FEBF-7F92-A946-91E9-1EC016F91312}" destId="{7043A4D2-E846-5142-A8FB-15BD5D56E33D}" srcOrd="0" destOrd="0" parTransId="{B07E8C48-30DB-E545-9F35-1B6AA15029EF}" sibTransId="{9E760943-4DCA-6A4A-9275-C4AB3D278800}"/>
    <dgm:cxn modelId="{DE4C2397-23DD-CB4A-BF30-AB9584CCA613}" srcId="{6EB3FEBF-7F92-A946-91E9-1EC016F91312}" destId="{CBFF9609-5CA0-4C44-8A99-EBF228C6CC9A}" srcOrd="2" destOrd="0" parTransId="{7DC842B7-C16A-074A-9005-24F5DDF12577}" sibTransId="{DD6E2252-9CC2-3348-B253-080F53C7135E}"/>
    <dgm:cxn modelId="{F9EF66A3-CF2C-B740-9BDF-8540704D0AFD}" type="presOf" srcId="{6EB3FEBF-7F92-A946-91E9-1EC016F91312}" destId="{53568F82-EF85-FF4B-B661-53CC0FEFD8C2}" srcOrd="0" destOrd="0" presId="urn:microsoft.com/office/officeart/2005/8/layout/hProcess9"/>
    <dgm:cxn modelId="{8CD74B6F-6E3B-7549-A27E-4D56AA545BE0}" type="presParOf" srcId="{53568F82-EF85-FF4B-B661-53CC0FEFD8C2}" destId="{7A6896AB-0B4D-1A4F-B387-FC202DEBBDFC}" srcOrd="0" destOrd="0" presId="urn:microsoft.com/office/officeart/2005/8/layout/hProcess9"/>
    <dgm:cxn modelId="{F8F2BC58-F746-274F-BD78-B1EE685994B2}" type="presParOf" srcId="{53568F82-EF85-FF4B-B661-53CC0FEFD8C2}" destId="{23B0B405-E312-B340-96C1-FC5D7B291009}" srcOrd="1" destOrd="0" presId="urn:microsoft.com/office/officeart/2005/8/layout/hProcess9"/>
    <dgm:cxn modelId="{ABE63F2E-6155-1946-8B10-97046474038E}" type="presParOf" srcId="{23B0B405-E312-B340-96C1-FC5D7B291009}" destId="{6EC38F21-8D69-5A46-BD5B-F829307E7B2F}" srcOrd="0" destOrd="0" presId="urn:microsoft.com/office/officeart/2005/8/layout/hProcess9"/>
    <dgm:cxn modelId="{FAAA5B40-2324-5840-80AC-5AF93D1D4A21}" type="presParOf" srcId="{23B0B405-E312-B340-96C1-FC5D7B291009}" destId="{1F9BE8FD-25D3-E747-87E2-121CC07E77E5}" srcOrd="1" destOrd="0" presId="urn:microsoft.com/office/officeart/2005/8/layout/hProcess9"/>
    <dgm:cxn modelId="{1CDFD96F-F761-9647-A433-56356AE73AB4}" type="presParOf" srcId="{23B0B405-E312-B340-96C1-FC5D7B291009}" destId="{B2E4E402-83A9-124E-8E15-3BE4945F5DD4}" srcOrd="2" destOrd="0" presId="urn:microsoft.com/office/officeart/2005/8/layout/hProcess9"/>
    <dgm:cxn modelId="{7F9625A5-C267-CE46-B583-95201AABC524}" type="presParOf" srcId="{23B0B405-E312-B340-96C1-FC5D7B291009}" destId="{F6803948-2374-4748-B66E-ED7D6A6E4F0D}" srcOrd="3" destOrd="0" presId="urn:microsoft.com/office/officeart/2005/8/layout/hProcess9"/>
    <dgm:cxn modelId="{1BAD6241-E66B-6742-923C-2B7626EDB54C}" type="presParOf" srcId="{23B0B405-E312-B340-96C1-FC5D7B291009}" destId="{DE418755-8D86-ED46-BA6D-6F8DAA6E8BD2}" srcOrd="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47EBAF6-E178-144F-A3CC-220FA0FB263A}">
      <dsp:nvSpPr>
        <dsp:cNvPr id="0" name=""/>
        <dsp:cNvSpPr/>
      </dsp:nvSpPr>
      <dsp:spPr>
        <a:xfrm>
          <a:off x="1553832" y="1304"/>
          <a:ext cx="2659815" cy="1063926"/>
        </a:xfrm>
        <a:prstGeom prst="chevron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1430" rIns="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0" kern="1200"/>
            <a:t>Assessment Plan: </a:t>
          </a:r>
          <a:endParaRPr lang="en-SA" sz="1800" kern="1200"/>
        </a:p>
      </dsp:txBody>
      <dsp:txXfrm>
        <a:off x="2085795" y="1304"/>
        <a:ext cx="1595889" cy="1063926"/>
      </dsp:txXfrm>
    </dsp:sp>
    <dsp:sp modelId="{368DC64B-5BDC-8A4E-A38C-DB16F3614EC3}">
      <dsp:nvSpPr>
        <dsp:cNvPr id="0" name=""/>
        <dsp:cNvSpPr/>
      </dsp:nvSpPr>
      <dsp:spPr>
        <a:xfrm>
          <a:off x="3867872" y="91738"/>
          <a:ext cx="5903247" cy="883058"/>
        </a:xfrm>
        <a:prstGeom prst="chevron">
          <a:avLst/>
        </a:prstGeom>
        <a:solidFill>
          <a:schemeClr val="accent3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1430" rIns="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A detailed plan outlining the scope, objectives, methodology, and timeline of the assessment.</a:t>
          </a:r>
          <a:endParaRPr lang="en-SA" sz="1800" kern="1200" dirty="0"/>
        </a:p>
      </dsp:txBody>
      <dsp:txXfrm>
        <a:off x="4309401" y="91738"/>
        <a:ext cx="5020189" cy="883058"/>
      </dsp:txXfrm>
    </dsp:sp>
    <dsp:sp modelId="{1BCA93D2-5905-8540-B23B-968567D073DE}">
      <dsp:nvSpPr>
        <dsp:cNvPr id="0" name=""/>
        <dsp:cNvSpPr/>
      </dsp:nvSpPr>
      <dsp:spPr>
        <a:xfrm>
          <a:off x="1553832" y="1214180"/>
          <a:ext cx="2659815" cy="1063926"/>
        </a:xfrm>
        <a:prstGeom prst="chevron">
          <a:avLst/>
        </a:prstGeom>
        <a:solidFill>
          <a:schemeClr val="accent3">
            <a:hueOff val="390957"/>
            <a:satOff val="8850"/>
            <a:lumOff val="-1444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1430" rIns="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0" kern="1200" dirty="0"/>
            <a:t>Maturity Assessment Report: </a:t>
          </a:r>
          <a:endParaRPr lang="en-SA" sz="1800" kern="1200" dirty="0"/>
        </a:p>
      </dsp:txBody>
      <dsp:txXfrm>
        <a:off x="2085795" y="1214180"/>
        <a:ext cx="1595889" cy="1063926"/>
      </dsp:txXfrm>
    </dsp:sp>
    <dsp:sp modelId="{87720452-1B98-7F49-8990-513ABE5AB4EF}">
      <dsp:nvSpPr>
        <dsp:cNvPr id="0" name=""/>
        <dsp:cNvSpPr/>
      </dsp:nvSpPr>
      <dsp:spPr>
        <a:xfrm>
          <a:off x="3867872" y="1304614"/>
          <a:ext cx="5903247" cy="883058"/>
        </a:xfrm>
        <a:prstGeom prst="chevron">
          <a:avLst/>
        </a:prstGeom>
        <a:solidFill>
          <a:schemeClr val="accent3">
            <a:tint val="40000"/>
            <a:alpha val="90000"/>
            <a:hueOff val="516555"/>
            <a:satOff val="-18195"/>
            <a:lumOff val="-2647"/>
            <a:alphaOff val="0"/>
          </a:schemeClr>
        </a:solidFill>
        <a:ln w="25400" cap="flat" cmpd="sng" algn="ctr">
          <a:solidFill>
            <a:schemeClr val="accent3">
              <a:tint val="40000"/>
              <a:alpha val="90000"/>
              <a:hueOff val="516555"/>
              <a:satOff val="-18195"/>
              <a:lumOff val="-2647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1430" rIns="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A comprehensive report summarizing the assessment findings, including maturity level determination, gap analysis, and recommendations.</a:t>
          </a:r>
          <a:endParaRPr lang="en-SA" sz="1800" kern="1200"/>
        </a:p>
      </dsp:txBody>
      <dsp:txXfrm>
        <a:off x="4309401" y="1304614"/>
        <a:ext cx="5020189" cy="883058"/>
      </dsp:txXfrm>
    </dsp:sp>
    <dsp:sp modelId="{61B864DB-DB81-8D4D-B018-0E8FC6A2CCBA}">
      <dsp:nvSpPr>
        <dsp:cNvPr id="0" name=""/>
        <dsp:cNvSpPr/>
      </dsp:nvSpPr>
      <dsp:spPr>
        <a:xfrm>
          <a:off x="1553832" y="2427056"/>
          <a:ext cx="2659815" cy="1063926"/>
        </a:xfrm>
        <a:prstGeom prst="chevron">
          <a:avLst/>
        </a:prstGeom>
        <a:solidFill>
          <a:schemeClr val="accent3">
            <a:hueOff val="781914"/>
            <a:satOff val="17700"/>
            <a:lumOff val="-2889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1430" rIns="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0" kern="1200"/>
            <a:t>Implementation Roadmap:</a:t>
          </a:r>
          <a:endParaRPr lang="en-SA" sz="1800" kern="1200"/>
        </a:p>
      </dsp:txBody>
      <dsp:txXfrm>
        <a:off x="2085795" y="2427056"/>
        <a:ext cx="1595889" cy="1063926"/>
      </dsp:txXfrm>
    </dsp:sp>
    <dsp:sp modelId="{F1340647-82DB-1F46-87CA-AE2F02D14729}">
      <dsp:nvSpPr>
        <dsp:cNvPr id="0" name=""/>
        <dsp:cNvSpPr/>
      </dsp:nvSpPr>
      <dsp:spPr>
        <a:xfrm>
          <a:off x="3867872" y="2517490"/>
          <a:ext cx="5903247" cy="883058"/>
        </a:xfrm>
        <a:prstGeom prst="chevron">
          <a:avLst/>
        </a:prstGeom>
        <a:solidFill>
          <a:schemeClr val="accent3">
            <a:tint val="40000"/>
            <a:alpha val="90000"/>
            <a:hueOff val="1033110"/>
            <a:satOff val="-36389"/>
            <a:lumOff val="-5294"/>
            <a:alphaOff val="0"/>
          </a:schemeClr>
        </a:solidFill>
        <a:ln w="25400" cap="flat" cmpd="sng" algn="ctr">
          <a:solidFill>
            <a:schemeClr val="accent3">
              <a:tint val="40000"/>
              <a:alpha val="90000"/>
              <a:hueOff val="1033110"/>
              <a:satOff val="-36389"/>
              <a:lumOff val="-5294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1430" rIns="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A roadmap detailing the steps and timelines for implementing the recommended improvements</a:t>
          </a:r>
          <a:endParaRPr lang="en-SA" sz="1800" kern="1200"/>
        </a:p>
      </dsp:txBody>
      <dsp:txXfrm>
        <a:off x="4309401" y="2517490"/>
        <a:ext cx="5020189" cy="883058"/>
      </dsp:txXfrm>
    </dsp:sp>
    <dsp:sp modelId="{42DFF68C-A5E3-5941-AC51-70EAA0703236}">
      <dsp:nvSpPr>
        <dsp:cNvPr id="0" name=""/>
        <dsp:cNvSpPr/>
      </dsp:nvSpPr>
      <dsp:spPr>
        <a:xfrm>
          <a:off x="1553832" y="3639932"/>
          <a:ext cx="2659815" cy="1063926"/>
        </a:xfrm>
        <a:prstGeom prst="chevron">
          <a:avLst/>
        </a:prstGeom>
        <a:solidFill>
          <a:schemeClr val="accent3">
            <a:hueOff val="1172871"/>
            <a:satOff val="26550"/>
            <a:lumOff val="-4333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1430" rIns="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0" kern="1200" dirty="0"/>
            <a:t>Support &amp; consultation </a:t>
          </a:r>
          <a:endParaRPr lang="en-SA" sz="1800" kern="1200" dirty="0"/>
        </a:p>
      </dsp:txBody>
      <dsp:txXfrm>
        <a:off x="2085795" y="3639932"/>
        <a:ext cx="1595889" cy="1063926"/>
      </dsp:txXfrm>
    </dsp:sp>
    <dsp:sp modelId="{B381B193-C879-444B-ABF1-03BA0A3E2282}">
      <dsp:nvSpPr>
        <dsp:cNvPr id="0" name=""/>
        <dsp:cNvSpPr/>
      </dsp:nvSpPr>
      <dsp:spPr>
        <a:xfrm>
          <a:off x="3867872" y="3730366"/>
          <a:ext cx="5903247" cy="883058"/>
        </a:xfrm>
        <a:prstGeom prst="chevron">
          <a:avLst/>
        </a:prstGeom>
        <a:solidFill>
          <a:schemeClr val="accent3">
            <a:tint val="40000"/>
            <a:alpha val="90000"/>
            <a:hueOff val="1549665"/>
            <a:satOff val="-54584"/>
            <a:lumOff val="-7941"/>
            <a:alphaOff val="0"/>
          </a:schemeClr>
        </a:solidFill>
        <a:ln w="25400" cap="flat" cmpd="sng" algn="ctr">
          <a:solidFill>
            <a:schemeClr val="accent3">
              <a:tint val="40000"/>
              <a:alpha val="90000"/>
              <a:hueOff val="1549665"/>
              <a:satOff val="-54584"/>
              <a:lumOff val="-794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1430" rIns="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Supporting Gov. entities to achieve required maturity levels.</a:t>
          </a:r>
          <a:endParaRPr lang="en-SA" sz="1800" kern="1200" dirty="0"/>
        </a:p>
      </dsp:txBody>
      <dsp:txXfrm>
        <a:off x="4309401" y="3730366"/>
        <a:ext cx="5020189" cy="88305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96F0D37-9CF2-416F-B574-A4608EB63080}">
      <dsp:nvSpPr>
        <dsp:cNvPr id="0" name=""/>
        <dsp:cNvSpPr/>
      </dsp:nvSpPr>
      <dsp:spPr>
        <a:xfrm>
          <a:off x="3098" y="0"/>
          <a:ext cx="2709331" cy="315630"/>
        </a:xfrm>
        <a:prstGeom prst="homePlate">
          <a:avLst/>
        </a:prstGeom>
        <a:solidFill>
          <a:schemeClr val="accent4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48006" rIns="24003" bIns="48006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latin typeface="Roboto Condensed Light" panose="02000000000000000000" pitchFamily="2" charset="0"/>
              <a:ea typeface="Roboto Condensed Light" panose="02000000000000000000" pitchFamily="2" charset="0"/>
            </a:rPr>
            <a:t>Standards</a:t>
          </a:r>
          <a:endParaRPr lang="en-CA" sz="1800" kern="1200" dirty="0">
            <a:latin typeface="Roboto Condensed Light" panose="02000000000000000000" pitchFamily="2" charset="0"/>
            <a:ea typeface="Roboto Condensed Light" panose="02000000000000000000" pitchFamily="2" charset="0"/>
          </a:endParaRPr>
        </a:p>
      </dsp:txBody>
      <dsp:txXfrm>
        <a:off x="3098" y="0"/>
        <a:ext cx="2630424" cy="315630"/>
      </dsp:txXfrm>
    </dsp:sp>
    <dsp:sp modelId="{FDA43078-FC30-4C48-928A-0290E463E2F8}">
      <dsp:nvSpPr>
        <dsp:cNvPr id="0" name=""/>
        <dsp:cNvSpPr/>
      </dsp:nvSpPr>
      <dsp:spPr>
        <a:xfrm>
          <a:off x="2170563" y="0"/>
          <a:ext cx="2709331" cy="315630"/>
        </a:xfrm>
        <a:prstGeom prst="chevron">
          <a:avLst/>
        </a:prstGeom>
        <a:solidFill>
          <a:schemeClr val="accent4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48006" rIns="24003" bIns="48006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latin typeface="Roboto Condensed Light" panose="02000000000000000000" pitchFamily="2" charset="0"/>
              <a:ea typeface="Roboto Condensed Light" panose="02000000000000000000" pitchFamily="2" charset="0"/>
            </a:rPr>
            <a:t>Templates</a:t>
          </a:r>
          <a:endParaRPr lang="en-CA" sz="1800" kern="1200" dirty="0">
            <a:latin typeface="Roboto Condensed Light" panose="02000000000000000000" pitchFamily="2" charset="0"/>
            <a:ea typeface="Roboto Condensed Light" panose="02000000000000000000" pitchFamily="2" charset="0"/>
          </a:endParaRPr>
        </a:p>
      </dsp:txBody>
      <dsp:txXfrm>
        <a:off x="2328378" y="0"/>
        <a:ext cx="2393701" cy="315630"/>
      </dsp:txXfrm>
    </dsp:sp>
    <dsp:sp modelId="{44C325DF-AE1B-4867-AF3E-4A6C3794DEB0}">
      <dsp:nvSpPr>
        <dsp:cNvPr id="0" name=""/>
        <dsp:cNvSpPr/>
      </dsp:nvSpPr>
      <dsp:spPr>
        <a:xfrm>
          <a:off x="4338028" y="0"/>
          <a:ext cx="2709331" cy="315630"/>
        </a:xfrm>
        <a:prstGeom prst="chevron">
          <a:avLst/>
        </a:prstGeom>
        <a:solidFill>
          <a:schemeClr val="accent4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48006" rIns="24003" bIns="48006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800" kern="1200" dirty="0">
              <a:latin typeface="Roboto Condensed Light" panose="02000000000000000000" pitchFamily="2" charset="0"/>
              <a:ea typeface="Roboto Condensed Light" panose="02000000000000000000" pitchFamily="2" charset="0"/>
            </a:rPr>
            <a:t>CMS</a:t>
          </a:r>
        </a:p>
      </dsp:txBody>
      <dsp:txXfrm>
        <a:off x="4495843" y="0"/>
        <a:ext cx="2393701" cy="31563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96F0D37-9CF2-416F-B574-A4608EB63080}">
      <dsp:nvSpPr>
        <dsp:cNvPr id="0" name=""/>
        <dsp:cNvSpPr/>
      </dsp:nvSpPr>
      <dsp:spPr>
        <a:xfrm>
          <a:off x="117549" y="0"/>
          <a:ext cx="2848317" cy="308033"/>
        </a:xfrm>
        <a:prstGeom prst="homePlate">
          <a:avLst/>
        </a:prstGeom>
        <a:solidFill>
          <a:schemeClr val="accent4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600" kern="1200" dirty="0">
              <a:latin typeface="Roboto Condensed Light" panose="02000000000000000000" pitchFamily="2" charset="0"/>
              <a:ea typeface="Roboto Condensed Light" panose="02000000000000000000" pitchFamily="2" charset="0"/>
            </a:rPr>
            <a:t>Automated Tasks</a:t>
          </a:r>
        </a:p>
      </dsp:txBody>
      <dsp:txXfrm>
        <a:off x="117549" y="0"/>
        <a:ext cx="2771309" cy="308033"/>
      </dsp:txXfrm>
    </dsp:sp>
    <dsp:sp modelId="{FDA43078-FC30-4C48-928A-0290E463E2F8}">
      <dsp:nvSpPr>
        <dsp:cNvPr id="0" name=""/>
        <dsp:cNvSpPr/>
      </dsp:nvSpPr>
      <dsp:spPr>
        <a:xfrm>
          <a:off x="2303321" y="0"/>
          <a:ext cx="2662277" cy="308033"/>
        </a:xfrm>
        <a:prstGeom prst="chevron">
          <a:avLst/>
        </a:prstGeom>
        <a:solidFill>
          <a:schemeClr val="accent4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Roboto Condensed Light" panose="02000000000000000000" pitchFamily="2" charset="0"/>
              <a:ea typeface="Roboto Condensed Light" panose="02000000000000000000" pitchFamily="2" charset="0"/>
            </a:rPr>
            <a:t>Intelligent Routing</a:t>
          </a:r>
          <a:endParaRPr lang="en-CA" sz="1600" kern="1200" dirty="0">
            <a:latin typeface="Roboto Condensed Light" panose="02000000000000000000" pitchFamily="2" charset="0"/>
            <a:ea typeface="Roboto Condensed Light" panose="02000000000000000000" pitchFamily="2" charset="0"/>
          </a:endParaRPr>
        </a:p>
      </dsp:txBody>
      <dsp:txXfrm>
        <a:off x="2457338" y="0"/>
        <a:ext cx="2354244" cy="308033"/>
      </dsp:txXfrm>
    </dsp:sp>
    <dsp:sp modelId="{44C325DF-AE1B-4867-AF3E-4A6C3794DEB0}">
      <dsp:nvSpPr>
        <dsp:cNvPr id="0" name=""/>
        <dsp:cNvSpPr/>
      </dsp:nvSpPr>
      <dsp:spPr>
        <a:xfrm>
          <a:off x="4423309" y="0"/>
          <a:ext cx="2662277" cy="308033"/>
        </a:xfrm>
        <a:prstGeom prst="chevron">
          <a:avLst/>
        </a:prstGeom>
        <a:solidFill>
          <a:schemeClr val="accent4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Roboto Condensed Light" panose="02000000000000000000" pitchFamily="2" charset="0"/>
              <a:ea typeface="Roboto Condensed Light" panose="02000000000000000000" pitchFamily="2" charset="0"/>
            </a:rPr>
            <a:t>Notifications</a:t>
          </a:r>
          <a:endParaRPr lang="en-CA" sz="1600" kern="1200" dirty="0">
            <a:latin typeface="Roboto Condensed Light" panose="02000000000000000000" pitchFamily="2" charset="0"/>
            <a:ea typeface="Roboto Condensed Light" panose="02000000000000000000" pitchFamily="2" charset="0"/>
          </a:endParaRPr>
        </a:p>
      </dsp:txBody>
      <dsp:txXfrm>
        <a:off x="4577326" y="0"/>
        <a:ext cx="2354244" cy="308033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96F0D37-9CF2-416F-B574-A4608EB63080}">
      <dsp:nvSpPr>
        <dsp:cNvPr id="0" name=""/>
        <dsp:cNvSpPr/>
      </dsp:nvSpPr>
      <dsp:spPr>
        <a:xfrm>
          <a:off x="3095" y="0"/>
          <a:ext cx="2706597" cy="308033"/>
        </a:xfrm>
        <a:prstGeom prst="homePlate">
          <a:avLst/>
        </a:prstGeom>
        <a:solidFill>
          <a:schemeClr val="accent4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48006" rIns="24003" bIns="48006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latin typeface="Roboto Condensed Light" panose="02000000000000000000" pitchFamily="2" charset="0"/>
              <a:ea typeface="Roboto Condensed Light" panose="02000000000000000000" pitchFamily="2" charset="0"/>
            </a:rPr>
            <a:t>Chatbot</a:t>
          </a:r>
          <a:endParaRPr lang="en-CA" sz="1800" kern="1200" dirty="0">
            <a:latin typeface="Roboto Condensed Light" panose="02000000000000000000" pitchFamily="2" charset="0"/>
            <a:ea typeface="Roboto Condensed Light" panose="02000000000000000000" pitchFamily="2" charset="0"/>
          </a:endParaRPr>
        </a:p>
      </dsp:txBody>
      <dsp:txXfrm>
        <a:off x="3095" y="0"/>
        <a:ext cx="2629589" cy="308033"/>
      </dsp:txXfrm>
    </dsp:sp>
    <dsp:sp modelId="{FDA43078-FC30-4C48-928A-0290E463E2F8}">
      <dsp:nvSpPr>
        <dsp:cNvPr id="0" name=""/>
        <dsp:cNvSpPr/>
      </dsp:nvSpPr>
      <dsp:spPr>
        <a:xfrm>
          <a:off x="2168372" y="0"/>
          <a:ext cx="2706597" cy="308033"/>
        </a:xfrm>
        <a:prstGeom prst="chevron">
          <a:avLst/>
        </a:prstGeom>
        <a:solidFill>
          <a:schemeClr val="accent4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48006" rIns="24003" bIns="48006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latin typeface="Roboto Condensed Light" panose="02000000000000000000" pitchFamily="2" charset="0"/>
              <a:ea typeface="Roboto Condensed Light" panose="02000000000000000000" pitchFamily="2" charset="0"/>
            </a:rPr>
            <a:t>Analytics</a:t>
          </a:r>
          <a:endParaRPr lang="en-CA" sz="1800" kern="1200" dirty="0">
            <a:latin typeface="Roboto Condensed Light" panose="02000000000000000000" pitchFamily="2" charset="0"/>
            <a:ea typeface="Roboto Condensed Light" panose="02000000000000000000" pitchFamily="2" charset="0"/>
          </a:endParaRPr>
        </a:p>
      </dsp:txBody>
      <dsp:txXfrm>
        <a:off x="2322389" y="0"/>
        <a:ext cx="2398564" cy="308033"/>
      </dsp:txXfrm>
    </dsp:sp>
    <dsp:sp modelId="{44C325DF-AE1B-4867-AF3E-4A6C3794DEB0}">
      <dsp:nvSpPr>
        <dsp:cNvPr id="0" name=""/>
        <dsp:cNvSpPr/>
      </dsp:nvSpPr>
      <dsp:spPr>
        <a:xfrm>
          <a:off x="4333650" y="0"/>
          <a:ext cx="2706597" cy="308033"/>
        </a:xfrm>
        <a:prstGeom prst="chevron">
          <a:avLst/>
        </a:prstGeom>
        <a:solidFill>
          <a:schemeClr val="accent4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48006" rIns="24003" bIns="48006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800" kern="1200" dirty="0">
              <a:latin typeface="Roboto Condensed Light" panose="02000000000000000000" pitchFamily="2" charset="0"/>
              <a:ea typeface="Roboto Condensed Light" panose="02000000000000000000" pitchFamily="2" charset="0"/>
            </a:rPr>
            <a:t>Dashboards</a:t>
          </a:r>
        </a:p>
      </dsp:txBody>
      <dsp:txXfrm>
        <a:off x="4487667" y="0"/>
        <a:ext cx="2398564" cy="308033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96F0D37-9CF2-416F-B574-A4608EB63080}">
      <dsp:nvSpPr>
        <dsp:cNvPr id="0" name=""/>
        <dsp:cNvSpPr/>
      </dsp:nvSpPr>
      <dsp:spPr>
        <a:xfrm>
          <a:off x="3091" y="0"/>
          <a:ext cx="2703760" cy="308033"/>
        </a:xfrm>
        <a:prstGeom prst="homePlate">
          <a:avLst/>
        </a:prstGeom>
        <a:solidFill>
          <a:schemeClr val="accent4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48006" rIns="24003" bIns="48006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latin typeface="Roboto Condensed Light" panose="02000000000000000000" pitchFamily="2" charset="0"/>
              <a:ea typeface="Roboto Condensed Light" panose="02000000000000000000" pitchFamily="2" charset="0"/>
            </a:rPr>
            <a:t>ML</a:t>
          </a:r>
          <a:endParaRPr lang="en-CA" sz="1800" kern="1200" dirty="0">
            <a:latin typeface="Roboto Condensed Light" panose="02000000000000000000" pitchFamily="2" charset="0"/>
            <a:ea typeface="Roboto Condensed Light" panose="02000000000000000000" pitchFamily="2" charset="0"/>
          </a:endParaRPr>
        </a:p>
      </dsp:txBody>
      <dsp:txXfrm>
        <a:off x="3091" y="0"/>
        <a:ext cx="2626752" cy="308033"/>
      </dsp:txXfrm>
    </dsp:sp>
    <dsp:sp modelId="{FDA43078-FC30-4C48-928A-0290E463E2F8}">
      <dsp:nvSpPr>
        <dsp:cNvPr id="0" name=""/>
        <dsp:cNvSpPr/>
      </dsp:nvSpPr>
      <dsp:spPr>
        <a:xfrm>
          <a:off x="2166100" y="0"/>
          <a:ext cx="2703760" cy="308033"/>
        </a:xfrm>
        <a:prstGeom prst="chevron">
          <a:avLst/>
        </a:prstGeom>
        <a:solidFill>
          <a:schemeClr val="accent4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48006" rIns="24003" bIns="48006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latin typeface="Roboto Condensed Light" panose="02000000000000000000" pitchFamily="2" charset="0"/>
              <a:ea typeface="Roboto Condensed Light" panose="02000000000000000000" pitchFamily="2" charset="0"/>
            </a:rPr>
            <a:t>NLP</a:t>
          </a:r>
          <a:endParaRPr lang="en-CA" sz="1800" kern="1200" dirty="0">
            <a:latin typeface="Roboto Condensed Light" panose="02000000000000000000" pitchFamily="2" charset="0"/>
            <a:ea typeface="Roboto Condensed Light" panose="02000000000000000000" pitchFamily="2" charset="0"/>
          </a:endParaRPr>
        </a:p>
      </dsp:txBody>
      <dsp:txXfrm>
        <a:off x="2320117" y="0"/>
        <a:ext cx="2395727" cy="308033"/>
      </dsp:txXfrm>
    </dsp:sp>
    <dsp:sp modelId="{44C325DF-AE1B-4867-AF3E-4A6C3794DEB0}">
      <dsp:nvSpPr>
        <dsp:cNvPr id="0" name=""/>
        <dsp:cNvSpPr/>
      </dsp:nvSpPr>
      <dsp:spPr>
        <a:xfrm>
          <a:off x="4332201" y="0"/>
          <a:ext cx="2703760" cy="308033"/>
        </a:xfrm>
        <a:prstGeom prst="chevron">
          <a:avLst/>
        </a:prstGeom>
        <a:solidFill>
          <a:schemeClr val="accent4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48006" rIns="24003" bIns="48006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latin typeface="Roboto Condensed Light" panose="02000000000000000000" pitchFamily="2" charset="0"/>
              <a:ea typeface="Roboto Condensed Light" panose="02000000000000000000" pitchFamily="2" charset="0"/>
            </a:rPr>
            <a:t>OCR</a:t>
          </a:r>
          <a:endParaRPr lang="en-CA" sz="1800" kern="1200" dirty="0">
            <a:latin typeface="Roboto Condensed Light" panose="02000000000000000000" pitchFamily="2" charset="0"/>
            <a:ea typeface="Roboto Condensed Light" panose="02000000000000000000" pitchFamily="2" charset="0"/>
          </a:endParaRPr>
        </a:p>
      </dsp:txBody>
      <dsp:txXfrm>
        <a:off x="4486218" y="0"/>
        <a:ext cx="2395727" cy="308033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3C864AA-B346-2A48-B033-366A15F18D1B}">
      <dsp:nvSpPr>
        <dsp:cNvPr id="0" name=""/>
        <dsp:cNvSpPr/>
      </dsp:nvSpPr>
      <dsp:spPr>
        <a:xfrm>
          <a:off x="53" y="184571"/>
          <a:ext cx="5127426" cy="928735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4480" tIns="162560" rIns="284480" bIns="162560" numCol="1" spcCol="1270" anchor="ctr" anchorCtr="0">
          <a:noAutofit/>
        </a:bodyPr>
        <a:lstStyle/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000" b="0" kern="1200" dirty="0"/>
            <a:t>Manual Auditing</a:t>
          </a:r>
          <a:endParaRPr lang="en-SA" sz="4000" kern="1200" dirty="0"/>
        </a:p>
      </dsp:txBody>
      <dsp:txXfrm>
        <a:off x="53" y="184571"/>
        <a:ext cx="5127426" cy="928735"/>
      </dsp:txXfrm>
    </dsp:sp>
    <dsp:sp modelId="{0A58AAF8-6887-5B4F-8959-F79FA8C0BB4D}">
      <dsp:nvSpPr>
        <dsp:cNvPr id="0" name=""/>
        <dsp:cNvSpPr/>
      </dsp:nvSpPr>
      <dsp:spPr>
        <a:xfrm>
          <a:off x="53" y="1113306"/>
          <a:ext cx="5127426" cy="2834898"/>
        </a:xfrm>
        <a:prstGeom prst="rect">
          <a:avLst/>
        </a:prstGeom>
        <a:solidFill>
          <a:schemeClr val="accent3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0678" tIns="90678" rIns="120904" bIns="136017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700" b="0" i="0" kern="1200" dirty="0"/>
            <a:t>Time and Cost Expansion: Manual auditing activities require manual effort and consume valuable resources.</a:t>
          </a:r>
          <a:endParaRPr lang="en-US" sz="1700" kern="1200" dirty="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700" b="0" i="0" kern="1200" dirty="0"/>
            <a:t>Scalability: The manual solution can NOT be easily scaled to handle a large volume of auditing tasks.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700" b="0" i="0" kern="1200" dirty="0"/>
            <a:t>Enhanced Compliance: in manual adulting we can not make sure from the auditing standardization presentive, each member has its own perspective.</a:t>
          </a:r>
        </a:p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700" b="0" i="0" kern="1200" dirty="0"/>
            <a:t>Easy to leverage and can start immediately</a:t>
          </a:r>
        </a:p>
      </dsp:txBody>
      <dsp:txXfrm>
        <a:off x="53" y="1113306"/>
        <a:ext cx="5127426" cy="2834898"/>
      </dsp:txXfrm>
    </dsp:sp>
    <dsp:sp modelId="{EDD15E9F-83A2-D842-AE77-6CF9E14B9D95}">
      <dsp:nvSpPr>
        <dsp:cNvPr id="0" name=""/>
        <dsp:cNvSpPr/>
      </dsp:nvSpPr>
      <dsp:spPr>
        <a:xfrm>
          <a:off x="5845319" y="184571"/>
          <a:ext cx="5127426" cy="928735"/>
        </a:xfrm>
        <a:prstGeom prst="rect">
          <a:avLst/>
        </a:prstGeom>
        <a:solidFill>
          <a:schemeClr val="accent3">
            <a:hueOff val="1172871"/>
            <a:satOff val="26550"/>
            <a:lumOff val="-43336"/>
            <a:alphaOff val="0"/>
          </a:schemeClr>
        </a:solidFill>
        <a:ln w="25400" cap="flat" cmpd="sng" algn="ctr">
          <a:solidFill>
            <a:schemeClr val="accent3">
              <a:hueOff val="1172871"/>
              <a:satOff val="26550"/>
              <a:lumOff val="-43336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4480" tIns="162560" rIns="284480" bIns="162560" numCol="1" spcCol="1270" anchor="ctr" anchorCtr="0">
          <a:noAutofit/>
        </a:bodyPr>
        <a:lstStyle/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000" b="0" kern="1200" dirty="0"/>
            <a:t>Automated Auditing</a:t>
          </a:r>
          <a:endParaRPr lang="en-SA" sz="4000" kern="1200" dirty="0"/>
        </a:p>
      </dsp:txBody>
      <dsp:txXfrm>
        <a:off x="5845319" y="184571"/>
        <a:ext cx="5127426" cy="928735"/>
      </dsp:txXfrm>
    </dsp:sp>
    <dsp:sp modelId="{6219B70D-5248-2548-BBA9-3E00A28347B7}">
      <dsp:nvSpPr>
        <dsp:cNvPr id="0" name=""/>
        <dsp:cNvSpPr/>
      </dsp:nvSpPr>
      <dsp:spPr>
        <a:xfrm>
          <a:off x="5845319" y="1113306"/>
          <a:ext cx="5127426" cy="2834898"/>
        </a:xfrm>
        <a:prstGeom prst="rect">
          <a:avLst/>
        </a:prstGeom>
        <a:solidFill>
          <a:schemeClr val="accent3">
            <a:tint val="40000"/>
            <a:alpha val="90000"/>
            <a:hueOff val="1549665"/>
            <a:satOff val="-54584"/>
            <a:lumOff val="-7941"/>
            <a:alphaOff val="0"/>
          </a:schemeClr>
        </a:solidFill>
        <a:ln w="25400" cap="flat" cmpd="sng" algn="ctr">
          <a:solidFill>
            <a:schemeClr val="accent3">
              <a:tint val="40000"/>
              <a:alpha val="90000"/>
              <a:hueOff val="1549665"/>
              <a:satOff val="-54584"/>
              <a:lumOff val="-794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0678" tIns="90678" rIns="120904" bIns="136017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700" b="0" i="0" kern="1200"/>
            <a:t>Time and Cost Savings: Automating auditing activities reduces manual effort and saves valuable resources.</a:t>
          </a:r>
          <a:endParaRPr lang="en-US" sz="1700" kern="120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700" b="0" i="0" kern="1200" dirty="0"/>
            <a:t>Scalability: The automation solution can be easily scaled to handle a large volume of auditing tasks.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700" b="0" i="0" kern="1200" dirty="0"/>
            <a:t>Enhanced Compliance: Automation helps enforce standardization and adherence to document templates and content types.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700" b="0" i="0" kern="1200" dirty="0"/>
            <a:t>Increased Accuracy: RPA eliminates human errors and ensures consistent auditing results.</a:t>
          </a:r>
        </a:p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700" b="0" i="0" kern="1200" dirty="0"/>
            <a:t>It takes time to build and implement</a:t>
          </a:r>
        </a:p>
      </dsp:txBody>
      <dsp:txXfrm>
        <a:off x="5845319" y="1113306"/>
        <a:ext cx="5127426" cy="2834898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A6896AB-0B4D-1A4F-B387-FC202DEBBDFC}">
      <dsp:nvSpPr>
        <dsp:cNvPr id="0" name=""/>
        <dsp:cNvSpPr/>
      </dsp:nvSpPr>
      <dsp:spPr>
        <a:xfrm>
          <a:off x="609599" y="0"/>
          <a:ext cx="6908800" cy="3663357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EC38F21-8D69-5A46-BD5B-F829307E7B2F}">
      <dsp:nvSpPr>
        <dsp:cNvPr id="0" name=""/>
        <dsp:cNvSpPr/>
      </dsp:nvSpPr>
      <dsp:spPr>
        <a:xfrm>
          <a:off x="0" y="1099007"/>
          <a:ext cx="2438400" cy="1465342"/>
        </a:xfrm>
        <a:prstGeom prst="roundRect">
          <a:avLst/>
        </a:prstGeom>
        <a:blipFill rotWithShape="0">
          <a:blip xmlns:r="http://schemas.openxmlformats.org/officeDocument/2006/relationships" r:embed="rId1"/>
          <a:srcRect/>
          <a:stretch>
            <a:fillRect t="-9000" b="-9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2410" tIns="232410" rIns="232410" bIns="232410" numCol="1" spcCol="1270" anchor="ctr" anchorCtr="0">
          <a:noAutofit/>
        </a:bodyPr>
        <a:lstStyle/>
        <a:p>
          <a:pPr marL="0" lvl="0" indent="0" algn="ctr" defTabSz="27114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100" kern="1200" dirty="0"/>
            <a:t> </a:t>
          </a:r>
        </a:p>
      </dsp:txBody>
      <dsp:txXfrm>
        <a:off x="71532" y="1170539"/>
        <a:ext cx="2295336" cy="1322278"/>
      </dsp:txXfrm>
    </dsp:sp>
    <dsp:sp modelId="{B2E4E402-83A9-124E-8E15-3BE4945F5DD4}">
      <dsp:nvSpPr>
        <dsp:cNvPr id="0" name=""/>
        <dsp:cNvSpPr/>
      </dsp:nvSpPr>
      <dsp:spPr>
        <a:xfrm>
          <a:off x="2844799" y="1099007"/>
          <a:ext cx="2438400" cy="146534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2410" tIns="232410" rIns="232410" bIns="232410" numCol="1" spcCol="1270" anchor="ctr" anchorCtr="0">
          <a:noAutofit/>
        </a:bodyPr>
        <a:lstStyle/>
        <a:p>
          <a:pPr marL="0" lvl="0" indent="0" algn="ctr" defTabSz="27114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100" kern="1200" dirty="0"/>
            <a:t>VEA</a:t>
          </a:r>
        </a:p>
      </dsp:txBody>
      <dsp:txXfrm>
        <a:off x="2916331" y="1170539"/>
        <a:ext cx="2295336" cy="1322278"/>
      </dsp:txXfrm>
    </dsp:sp>
    <dsp:sp modelId="{DE418755-8D86-ED46-BA6D-6F8DAA6E8BD2}">
      <dsp:nvSpPr>
        <dsp:cNvPr id="0" name=""/>
        <dsp:cNvSpPr/>
      </dsp:nvSpPr>
      <dsp:spPr>
        <a:xfrm>
          <a:off x="5689600" y="1099007"/>
          <a:ext cx="2438400" cy="146534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2410" tIns="232410" rIns="232410" bIns="232410" numCol="1" spcCol="1270" anchor="ctr" anchorCtr="0">
          <a:noAutofit/>
        </a:bodyPr>
        <a:lstStyle/>
        <a:p>
          <a:pPr marL="0" lvl="0" indent="0" algn="ctr" defTabSz="27114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100" kern="1200" dirty="0"/>
            <a:t>NIC</a:t>
          </a:r>
        </a:p>
      </dsp:txBody>
      <dsp:txXfrm>
        <a:off x="5761132" y="1170539"/>
        <a:ext cx="2295336" cy="132227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3D39151-B5E0-E341-B2AC-1A2E2D4FCEDD}" type="datetimeFigureOut">
              <a:rPr lang="en-SA" smtClean="0"/>
              <a:t>12/13/2023</a:t>
            </a:fld>
            <a:endParaRPr lang="en-S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S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9D8B6CB-D9C3-C747-8EFD-5675FBD7A536}" type="slidenum">
              <a:rPr lang="en-SA" smtClean="0"/>
              <a:t>‹#›</a:t>
            </a:fld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283719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9D8B6CB-D9C3-C747-8EFD-5675FBD7A536}" type="slidenum">
              <a:rPr lang="en-SA" smtClean="0"/>
              <a:t>4</a:t>
            </a:fld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35909925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i="0" dirty="0">
                <a:solidFill>
                  <a:srgbClr val="000000"/>
                </a:solidFill>
                <a:effectLst/>
                <a:latin typeface="-apple-system"/>
              </a:rPr>
              <a:t>By combining Intelligent Document Processing (IDP), a self-service platform, workflow automation, and integration with relevant systems, this solution architecture provides a streamlined and efficient approach to auditing and reviewing enterprise architecture deliverables in compliance with the NORA standard. The focus is on leveraging AI-powered document processing, self-service capabilities, and workflow automation to improve efficiency, accuracy, and compliance while reducing manual effort and review time.</a:t>
            </a:r>
          </a:p>
          <a:p>
            <a:endParaRPr lang="en-SA" dirty="0"/>
          </a:p>
          <a:p>
            <a:endParaRPr lang="en-S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9D8B6CB-D9C3-C747-8EFD-5675FBD7A536}" type="slidenum">
              <a:rPr lang="en-SA" smtClean="0"/>
              <a:t>7</a:t>
            </a:fld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11185901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9D8B6CB-D9C3-C747-8EFD-5675FBD7A536}" type="slidenum">
              <a:rPr lang="en-SA" smtClean="0"/>
              <a:t>8</a:t>
            </a:fld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11948491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9D8B6CB-D9C3-C747-8EFD-5675FBD7A536}" type="slidenum">
              <a:rPr lang="en-SA" smtClean="0"/>
              <a:t>9</a:t>
            </a:fld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35549450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9D8B6CB-D9C3-C747-8EFD-5675FBD7A536}" type="slidenum">
              <a:rPr lang="en-SA" smtClean="0"/>
              <a:t>10</a:t>
            </a:fld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11699751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9D8B6CB-D9C3-C747-8EFD-5675FBD7A536}" type="slidenum">
              <a:rPr lang="en-SA" smtClean="0"/>
              <a:t>11</a:t>
            </a:fld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8513514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9605" y="1577340"/>
            <a:ext cx="10972799" cy="4526280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5" y="6377940"/>
            <a:ext cx="3901439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F6E18EC-82B1-41A6-837B-9D5135C85C67}" type="datetimeFigureOut">
              <a:rPr lang="en-US" smtClean="0"/>
              <a:t>12/13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5961680-B4AC-4810-8E63-60E069848081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7B2D595-2857-7BA3-2FB1-A99E7234D7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564999"/>
            <a:ext cx="8449788" cy="1042506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794D3203-2311-86B0-5207-83288DF925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flipH="1">
            <a:off x="257451" y="921862"/>
            <a:ext cx="8446477" cy="65547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8649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5" y="6377940"/>
            <a:ext cx="3901439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F6E18EC-82B1-41A6-837B-9D5135C85C67}" type="datetimeFigureOut">
              <a:rPr lang="en-US" smtClean="0"/>
              <a:t>12/13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5961680-B4AC-4810-8E63-60E069848081}" type="slidenum">
              <a:rPr lang="en-US" smtClean="0"/>
              <a:t>‹#›</a:t>
            </a:fld>
            <a:endParaRPr lang="en-US"/>
          </a:p>
        </p:txBody>
      </p:sp>
      <p:sp>
        <p:nvSpPr>
          <p:cNvPr id="9" name="عنوان 1">
            <a:extLst>
              <a:ext uri="{FF2B5EF4-FFF2-40B4-BE49-F238E27FC236}">
                <a16:creationId xmlns:a16="http://schemas.microsoft.com/office/drawing/2014/main" id="{E8CC6095-78CD-D796-C449-AB463278F9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736726"/>
            <a:ext cx="10515600" cy="2852737"/>
          </a:xfrm>
          <a:solidFill>
            <a:schemeClr val="bg2">
              <a:lumMod val="25000"/>
            </a:schemeClr>
          </a:solidFill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عنصر نائب للنص 2">
            <a:extLst>
              <a:ext uri="{FF2B5EF4-FFF2-40B4-BE49-F238E27FC236}">
                <a16:creationId xmlns:a16="http://schemas.microsoft.com/office/drawing/2014/main" id="{88A9A642-2E88-1587-58C8-00387E6E2B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97188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عنوان المقط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وان 1"/>
          <p:cNvSpPr>
            <a:spLocks noGrp="1"/>
          </p:cNvSpPr>
          <p:nvPr>
            <p:ph type="title"/>
          </p:nvPr>
        </p:nvSpPr>
        <p:spPr>
          <a:xfrm>
            <a:off x="838200" y="1736726"/>
            <a:ext cx="10515600" cy="2852737"/>
          </a:xfrm>
          <a:solidFill>
            <a:schemeClr val="bg2">
              <a:lumMod val="25000"/>
            </a:schemeClr>
          </a:solidFill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عنصر نائب للنص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عنصر نائب للتاريخ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6E18EC-82B1-41A6-837B-9D5135C85C67}" type="datetimeFigureOut">
              <a:rPr lang="en-US" smtClean="0"/>
              <a:t>12/13/2023</a:t>
            </a:fld>
            <a:endParaRPr lang="en-US"/>
          </a:p>
        </p:txBody>
      </p:sp>
      <p:sp>
        <p:nvSpPr>
          <p:cNvPr id="5" name="عنصر نائب للتذييل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عنصر نائب لرقم الشريحة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61680-B4AC-4810-8E63-60E0698480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0439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فار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صر نائب للتاريخ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6E18EC-82B1-41A6-837B-9D5135C85C67}" type="datetimeFigureOut">
              <a:rPr lang="en-US" smtClean="0"/>
              <a:t>12/13/2023</a:t>
            </a:fld>
            <a:endParaRPr lang="en-US"/>
          </a:p>
        </p:txBody>
      </p:sp>
      <p:sp>
        <p:nvSpPr>
          <p:cNvPr id="3" name="عنصر نائب للتذييل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عنصر نائب لرقم الشريحة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61680-B4AC-4810-8E63-60E0698480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9910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59B187-7C2E-4495-BEC3-4E60F4D1CC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599" y="869520"/>
            <a:ext cx="9345676" cy="729695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 algn="r" rtl="0">
              <a:defRPr lang="en-US" sz="2667" b="0" i="0" baseline="0" dirty="0">
                <a:solidFill>
                  <a:srgbClr val="006298"/>
                </a:solidFill>
                <a:latin typeface="Frutiger LT Arabic 55 Roman" panose="01000000000000000000" pitchFamily="2" charset="-78"/>
                <a:ea typeface="Frutiger LT Arabic 55 Roman" panose="01000000000000000000" pitchFamily="2" charset="-78"/>
                <a:cs typeface="Frutiger LT Arabic 55 Roman" panose="01000000000000000000" pitchFamily="2" charset="-78"/>
              </a:defRPr>
            </a:lvl1pPr>
          </a:lstStyle>
          <a:p>
            <a:pPr marL="0" marR="0" lvl="0" indent="0" algn="r" defTabSz="914354" rtl="1" fontAlgn="auto">
              <a:spcBef>
                <a:spcPts val="1000"/>
              </a:spcBef>
              <a:spcAft>
                <a:spcPts val="0"/>
              </a:spcAft>
              <a:buClrTx/>
              <a:buSzTx/>
              <a:buFont typeface="Arial" charset="0"/>
              <a:tabLst/>
            </a:pPr>
            <a:r>
              <a:rPr lang="ar-SA" dirty="0"/>
              <a:t>العنوان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116320" y="6375401"/>
            <a:ext cx="5974080" cy="36618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Frutiger LT Arabic 55 Roman" panose="01000000000000000000" pitchFamily="2" charset="-78"/>
                <a:cs typeface="Frutiger LT Arabic 55 Roman" panose="01000000000000000000" pitchFamily="2" charset="-78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1599" y="6373290"/>
            <a:ext cx="2641601" cy="366183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  <a:latin typeface="Frutiger LT Arabic 45 Light" panose="01000000000000000000" pitchFamily="2" charset="-78"/>
                <a:cs typeface="Frutiger LT Arabic 45 Light" panose="01000000000000000000" pitchFamily="2" charset="-78"/>
              </a:defRPr>
            </a:lvl1pPr>
          </a:lstStyle>
          <a:p>
            <a:fld id="{85961680-B4AC-4810-8E63-60E0698480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07208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عنوان ومحتو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عنصر نائب للمحتوى 2"/>
          <p:cNvSpPr>
            <a:spLocks noGrp="1"/>
          </p:cNvSpPr>
          <p:nvPr>
            <p:ph idx="1"/>
          </p:nvPr>
        </p:nvSpPr>
        <p:spPr>
          <a:xfrm>
            <a:off x="252274" y="1996678"/>
            <a:ext cx="10515600" cy="4176713"/>
          </a:xfrm>
        </p:spPr>
        <p:txBody>
          <a:bodyPr/>
          <a:lstStyle>
            <a:lvl1pPr algn="l" rtl="0">
              <a:lnSpc>
                <a:spcPct val="110000"/>
              </a:lnSpc>
              <a:spcBef>
                <a:spcPts val="600"/>
              </a:spcBef>
              <a:defRPr/>
            </a:lvl1pPr>
            <a:lvl2pPr algn="l" rtl="0">
              <a:lnSpc>
                <a:spcPct val="110000"/>
              </a:lnSpc>
              <a:spcBef>
                <a:spcPts val="600"/>
              </a:spcBef>
              <a:defRPr/>
            </a:lvl2pPr>
            <a:lvl3pPr algn="l" rtl="0">
              <a:lnSpc>
                <a:spcPct val="110000"/>
              </a:lnSpc>
              <a:spcBef>
                <a:spcPts val="600"/>
              </a:spcBef>
              <a:defRPr/>
            </a:lvl3pPr>
            <a:lvl4pPr algn="l" rtl="0">
              <a:lnSpc>
                <a:spcPct val="110000"/>
              </a:lnSpc>
              <a:spcBef>
                <a:spcPts val="600"/>
              </a:spcBef>
              <a:defRPr/>
            </a:lvl4pPr>
            <a:lvl5pPr algn="l" rtl="0">
              <a:lnSpc>
                <a:spcPct val="11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5E74969B-DDEE-C824-145B-20EDBAF489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11859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451C2FE3-6220-96E6-C822-CEC2A39FC3A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F6E18EC-82B1-41A6-837B-9D5135C85C67}" type="datetimeFigureOut">
              <a:rPr lang="en-US" smtClean="0"/>
              <a:t>12/13/2023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486DDBD-5E75-5167-5FDF-C42034BC71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36D207E0-F994-38BB-0330-F5E0C88ECC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5961680-B4AC-4810-8E63-60E0698480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2823468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2F7F1E-3381-B23B-1040-7693AED5FD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63109154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969851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5484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194"/>
            </a:lvl1pPr>
            <a:lvl2pPr marL="417909" indent="0" algn="ctr">
              <a:buNone/>
              <a:defRPr sz="1828"/>
            </a:lvl2pPr>
            <a:lvl3pPr marL="835819" indent="0" algn="ctr">
              <a:buNone/>
              <a:defRPr sz="1645"/>
            </a:lvl3pPr>
            <a:lvl4pPr marL="1253728" indent="0" algn="ctr">
              <a:buNone/>
              <a:defRPr sz="1463"/>
            </a:lvl4pPr>
            <a:lvl5pPr marL="1671638" indent="0" algn="ctr">
              <a:buNone/>
              <a:defRPr sz="1463"/>
            </a:lvl5pPr>
            <a:lvl6pPr marL="2089547" indent="0" algn="ctr">
              <a:buNone/>
              <a:defRPr sz="1463"/>
            </a:lvl6pPr>
            <a:lvl7pPr marL="2507456" indent="0" algn="ctr">
              <a:buNone/>
              <a:defRPr sz="1463"/>
            </a:lvl7pPr>
            <a:lvl8pPr marL="2925366" indent="0" algn="ctr">
              <a:buNone/>
              <a:defRPr sz="1463"/>
            </a:lvl8pPr>
            <a:lvl9pPr marL="3343275" indent="0" algn="ctr">
              <a:buNone/>
              <a:defRPr sz="1463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6E18EC-82B1-41A6-837B-9D5135C85C67}" type="datetimeFigureOut">
              <a:rPr lang="en-US" smtClean="0"/>
              <a:t>12/1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61680-B4AC-4810-8E63-60E0698480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6343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2119" y="1595"/>
          <a:ext cx="2118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9" y="1595"/>
                        <a:ext cx="2118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1" y="402592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1" y="1665292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144565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</p:sldLayoutIdLst>
  <p:transition>
    <p:fade/>
  </p:transition>
  <p:txStyles>
    <p:titleStyle>
      <a:lvl1pPr algn="l" defTabSz="2063677" rtl="0" eaLnBrk="1" latinLnBrk="0" hangingPunct="1">
        <a:spcBef>
          <a:spcPct val="0"/>
        </a:spcBef>
        <a:buNone/>
        <a:defRPr sz="338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2063677" rtl="0" eaLnBrk="1" latinLnBrk="0" hangingPunct="1">
        <a:spcBef>
          <a:spcPts val="0"/>
        </a:spcBef>
        <a:spcAft>
          <a:spcPts val="2256"/>
        </a:spcAft>
        <a:buSzPct val="100000"/>
        <a:buFont typeface="Arial" panose="020B0604020202020204" pitchFamily="34" charset="0"/>
        <a:buNone/>
        <a:defRPr sz="2032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2063677" rtl="0" eaLnBrk="1" latinLnBrk="0" hangingPunct="1">
        <a:spcBef>
          <a:spcPts val="0"/>
        </a:spcBef>
        <a:spcAft>
          <a:spcPts val="2256"/>
        </a:spcAft>
        <a:buClrTx/>
        <a:buSzPct val="100000"/>
        <a:buFont typeface="Arial"/>
        <a:buNone/>
        <a:defRPr lang="en-US" sz="2032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98110" indent="-398110" algn="l" defTabSz="2063677" rtl="0" eaLnBrk="1" latinLnBrk="0" hangingPunct="1">
        <a:spcBef>
          <a:spcPts val="0"/>
        </a:spcBef>
        <a:spcAft>
          <a:spcPts val="2256"/>
        </a:spcAft>
        <a:buClrTx/>
        <a:buSzPct val="100000"/>
        <a:buFont typeface="Arial" panose="020B0604020202020204" pitchFamily="34" charset="0"/>
        <a:buChar char="•"/>
        <a:defRPr lang="en-US" sz="2032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04344" indent="-398110" algn="l" defTabSz="2063677" rtl="0" eaLnBrk="1" latinLnBrk="0" hangingPunct="1">
        <a:spcBef>
          <a:spcPts val="0"/>
        </a:spcBef>
        <a:spcAft>
          <a:spcPts val="2256"/>
        </a:spcAft>
        <a:buClrTx/>
        <a:buSzPct val="100000"/>
        <a:buFont typeface="Verdana" panose="020B0604030504040204" pitchFamily="34" charset="0"/>
        <a:buChar char="−"/>
        <a:defRPr lang="en-US" sz="2032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202457" indent="-398110" algn="l" defTabSz="1802135" rtl="0" eaLnBrk="1" latinLnBrk="0" hangingPunct="1">
        <a:spcBef>
          <a:spcPts val="0"/>
        </a:spcBef>
        <a:spcAft>
          <a:spcPts val="2256"/>
        </a:spcAft>
        <a:buClrTx/>
        <a:buSzPct val="100000"/>
        <a:buFont typeface="Verdana" panose="020B0604030504040204" pitchFamily="34" charset="0"/>
        <a:buChar char="−"/>
        <a:tabLst/>
        <a:defRPr lang="en-US" sz="2032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1202457" indent="-398110" algn="l" defTabSz="2063677" rtl="0" eaLnBrk="1" latinLnBrk="0" hangingPunct="1">
        <a:spcBef>
          <a:spcPts val="0"/>
        </a:spcBef>
        <a:spcAft>
          <a:spcPts val="2256"/>
        </a:spcAft>
        <a:buFont typeface="Verdana" panose="020B0604030504040204" pitchFamily="34" charset="0"/>
        <a:buChar char="−"/>
        <a:defRPr sz="271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02457" indent="-398110" algn="l" defTabSz="2063677" rtl="0" eaLnBrk="1" latinLnBrk="0" hangingPunct="1">
        <a:spcBef>
          <a:spcPts val="0"/>
        </a:spcBef>
        <a:spcAft>
          <a:spcPts val="2256"/>
        </a:spcAft>
        <a:buFont typeface="Verdana" panose="020B0604030504040204" pitchFamily="34" charset="0"/>
        <a:buChar char="−"/>
        <a:defRPr sz="2710" kern="1200">
          <a:solidFill>
            <a:schemeClr val="tx1"/>
          </a:solidFill>
          <a:latin typeface="+mn-lt"/>
          <a:ea typeface="+mn-ea"/>
          <a:cs typeface="+mn-cs"/>
        </a:defRPr>
      </a:lvl7pPr>
      <a:lvl8pPr marL="1202457" indent="-398110" algn="l" defTabSz="2063677" rtl="0" eaLnBrk="1" latinLnBrk="0" hangingPunct="1">
        <a:spcBef>
          <a:spcPts val="0"/>
        </a:spcBef>
        <a:spcAft>
          <a:spcPts val="2256"/>
        </a:spcAft>
        <a:buFont typeface="Verdana" panose="020B0604030504040204" pitchFamily="34" charset="0"/>
        <a:buChar char="−"/>
        <a:defRPr sz="271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202457" indent="-398110" algn="l" defTabSz="2063677" rtl="0" eaLnBrk="1" latinLnBrk="0" hangingPunct="1">
        <a:spcBef>
          <a:spcPts val="0"/>
        </a:spcBef>
        <a:spcAft>
          <a:spcPts val="2256"/>
        </a:spcAft>
        <a:buFont typeface="Verdana" panose="020B0604030504040204" pitchFamily="34" charset="0"/>
        <a:buChar char="−"/>
        <a:defRPr sz="271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063677" rtl="0" eaLnBrk="1" latinLnBrk="0" hangingPunct="1">
        <a:defRPr sz="4063" kern="1200">
          <a:solidFill>
            <a:schemeClr val="tx1"/>
          </a:solidFill>
          <a:latin typeface="+mn-lt"/>
          <a:ea typeface="+mn-ea"/>
          <a:cs typeface="+mn-cs"/>
        </a:defRPr>
      </a:lvl1pPr>
      <a:lvl2pPr marL="1031837" algn="l" defTabSz="2063677" rtl="0" eaLnBrk="1" latinLnBrk="0" hangingPunct="1">
        <a:defRPr sz="4063" kern="1200">
          <a:solidFill>
            <a:schemeClr val="tx1"/>
          </a:solidFill>
          <a:latin typeface="+mn-lt"/>
          <a:ea typeface="+mn-ea"/>
          <a:cs typeface="+mn-cs"/>
        </a:defRPr>
      </a:lvl2pPr>
      <a:lvl3pPr marL="2063677" algn="l" defTabSz="2063677" rtl="0" eaLnBrk="1" latinLnBrk="0" hangingPunct="1">
        <a:defRPr sz="4063" kern="1200">
          <a:solidFill>
            <a:schemeClr val="tx1"/>
          </a:solidFill>
          <a:latin typeface="+mn-lt"/>
          <a:ea typeface="+mn-ea"/>
          <a:cs typeface="+mn-cs"/>
        </a:defRPr>
      </a:lvl3pPr>
      <a:lvl4pPr marL="3095512" algn="l" defTabSz="2063677" rtl="0" eaLnBrk="1" latinLnBrk="0" hangingPunct="1">
        <a:defRPr sz="4063" kern="1200">
          <a:solidFill>
            <a:schemeClr val="tx1"/>
          </a:solidFill>
          <a:latin typeface="+mn-lt"/>
          <a:ea typeface="+mn-ea"/>
          <a:cs typeface="+mn-cs"/>
        </a:defRPr>
      </a:lvl4pPr>
      <a:lvl5pPr marL="4127348" algn="l" defTabSz="2063677" rtl="0" eaLnBrk="1" latinLnBrk="0" hangingPunct="1">
        <a:defRPr sz="4063" kern="1200">
          <a:solidFill>
            <a:schemeClr val="tx1"/>
          </a:solidFill>
          <a:latin typeface="+mn-lt"/>
          <a:ea typeface="+mn-ea"/>
          <a:cs typeface="+mn-cs"/>
        </a:defRPr>
      </a:lvl5pPr>
      <a:lvl6pPr marL="5159184" algn="l" defTabSz="2063677" rtl="0" eaLnBrk="1" latinLnBrk="0" hangingPunct="1">
        <a:defRPr sz="4063" kern="1200">
          <a:solidFill>
            <a:schemeClr val="tx1"/>
          </a:solidFill>
          <a:latin typeface="+mn-lt"/>
          <a:ea typeface="+mn-ea"/>
          <a:cs typeface="+mn-cs"/>
        </a:defRPr>
      </a:lvl6pPr>
      <a:lvl7pPr marL="6191023" algn="l" defTabSz="2063677" rtl="0" eaLnBrk="1" latinLnBrk="0" hangingPunct="1">
        <a:defRPr sz="4063" kern="1200">
          <a:solidFill>
            <a:schemeClr val="tx1"/>
          </a:solidFill>
          <a:latin typeface="+mn-lt"/>
          <a:ea typeface="+mn-ea"/>
          <a:cs typeface="+mn-cs"/>
        </a:defRPr>
      </a:lvl7pPr>
      <a:lvl8pPr marL="7222858" algn="l" defTabSz="2063677" rtl="0" eaLnBrk="1" latinLnBrk="0" hangingPunct="1">
        <a:defRPr sz="4063" kern="1200">
          <a:solidFill>
            <a:schemeClr val="tx1"/>
          </a:solidFill>
          <a:latin typeface="+mn-lt"/>
          <a:ea typeface="+mn-ea"/>
          <a:cs typeface="+mn-cs"/>
        </a:defRPr>
      </a:lvl8pPr>
      <a:lvl9pPr marL="8254696" algn="l" defTabSz="2063677" rtl="0" eaLnBrk="1" latinLnBrk="0" hangingPunct="1">
        <a:defRPr sz="40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971">
          <p15:clr>
            <a:srgbClr val="F26B43"/>
          </p15:clr>
        </p15:guide>
        <p15:guide id="2" orient="horz" pos="2304">
          <p15:clr>
            <a:srgbClr val="F26B43"/>
          </p15:clr>
        </p15:guide>
        <p15:guide id="3" orient="horz" pos="4233">
          <p15:clr>
            <a:srgbClr val="F26B43"/>
          </p15:clr>
        </p15:guide>
        <p15:guide id="4" pos="290">
          <p15:clr>
            <a:srgbClr val="F26B43"/>
          </p15:clr>
        </p15:guide>
        <p15:guide id="5" pos="7200">
          <p15:clr>
            <a:srgbClr val="F26B43"/>
          </p15:clr>
        </p15:guide>
        <p15:guide id="6" orient="horz" pos="1142">
          <p15:clr>
            <a:srgbClr val="F26B43"/>
          </p15:clr>
        </p15:guide>
        <p15:guide id="7" orient="horz" pos="260">
          <p15:clr>
            <a:srgbClr val="F26B43"/>
          </p15:clr>
        </p15:guide>
        <p15:guide id="8" orient="horz" pos="4353">
          <p15:clr>
            <a:srgbClr val="F26B43"/>
          </p15:clr>
        </p15:guide>
        <p15:guide id="10" pos="4862">
          <p15:clr>
            <a:srgbClr val="F26B43"/>
          </p15:clr>
        </p15:guide>
        <p15:guide id="12" pos="1350">
          <p15:clr>
            <a:srgbClr val="F26B43"/>
          </p15:clr>
        </p15:guide>
        <p15:guide id="13" pos="1460">
          <p15:clr>
            <a:srgbClr val="F26B43"/>
          </p15:clr>
        </p15:guide>
        <p15:guide id="14" pos="2517">
          <p15:clr>
            <a:srgbClr val="F26B43"/>
          </p15:clr>
        </p15:guide>
        <p15:guide id="15" pos="2627">
          <p15:clr>
            <a:srgbClr val="F26B43"/>
          </p15:clr>
        </p15:guide>
        <p15:guide id="16" pos="6031">
          <p15:clr>
            <a:srgbClr val="F26B43"/>
          </p15:clr>
        </p15:guide>
        <p15:guide id="17" pos="3690">
          <p15:clr>
            <a:srgbClr val="F26B43"/>
          </p15:clr>
        </p15:guide>
        <p15:guide id="18" pos="3800">
          <p15:clr>
            <a:srgbClr val="F26B43"/>
          </p15:clr>
        </p15:guide>
        <p15:guide id="19" pos="3744">
          <p15:clr>
            <a:srgbClr val="F26B43"/>
          </p15:clr>
        </p15:guide>
        <p15:guide id="20" pos="6141">
          <p15:clr>
            <a:srgbClr val="F26B43"/>
          </p15:clr>
        </p15:guide>
        <p15:guide id="21" orient="horz" pos="1119">
          <p15:clr>
            <a:srgbClr val="F26B43"/>
          </p15:clr>
        </p15:guide>
        <p15:guide id="22" orient="horz" pos="684">
          <p15:clr>
            <a:srgbClr val="F26B43"/>
          </p15:clr>
        </p15:guide>
        <p15:guide id="23" orient="horz" pos="30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microsoft.com/office/2007/relationships/diagramDrawing" Target="../diagrams/drawing3.xml"/><Relationship Id="rId18" Type="http://schemas.microsoft.com/office/2007/relationships/diagramDrawing" Target="../diagrams/drawing4.xml"/><Relationship Id="rId26" Type="http://schemas.openxmlformats.org/officeDocument/2006/relationships/image" Target="../media/image8.png"/><Relationship Id="rId3" Type="http://schemas.openxmlformats.org/officeDocument/2006/relationships/diagramData" Target="../diagrams/data2.xml"/><Relationship Id="rId21" Type="http://schemas.openxmlformats.org/officeDocument/2006/relationships/diagramQuickStyle" Target="../diagrams/quickStyle5.xml"/><Relationship Id="rId7" Type="http://schemas.microsoft.com/office/2007/relationships/diagramDrawing" Target="../diagrams/drawing2.xml"/><Relationship Id="rId12" Type="http://schemas.openxmlformats.org/officeDocument/2006/relationships/diagramColors" Target="../diagrams/colors3.xml"/><Relationship Id="rId17" Type="http://schemas.openxmlformats.org/officeDocument/2006/relationships/diagramColors" Target="../diagrams/colors4.xml"/><Relationship Id="rId25" Type="http://schemas.openxmlformats.org/officeDocument/2006/relationships/image" Target="../media/image7.svg"/><Relationship Id="rId2" Type="http://schemas.openxmlformats.org/officeDocument/2006/relationships/notesSlide" Target="../notesSlides/notesSlide2.xml"/><Relationship Id="rId16" Type="http://schemas.openxmlformats.org/officeDocument/2006/relationships/diagramQuickStyle" Target="../diagrams/quickStyle4.xml"/><Relationship Id="rId20" Type="http://schemas.openxmlformats.org/officeDocument/2006/relationships/diagramLayout" Target="../diagrams/layout5.xml"/><Relationship Id="rId29" Type="http://schemas.openxmlformats.org/officeDocument/2006/relationships/image" Target="../media/image11.svg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2.xml"/><Relationship Id="rId11" Type="http://schemas.openxmlformats.org/officeDocument/2006/relationships/diagramQuickStyle" Target="../diagrams/quickStyle3.xml"/><Relationship Id="rId24" Type="http://schemas.openxmlformats.org/officeDocument/2006/relationships/image" Target="../media/image6.png"/><Relationship Id="rId5" Type="http://schemas.openxmlformats.org/officeDocument/2006/relationships/diagramQuickStyle" Target="../diagrams/quickStyle2.xml"/><Relationship Id="rId15" Type="http://schemas.openxmlformats.org/officeDocument/2006/relationships/diagramLayout" Target="../diagrams/layout4.xml"/><Relationship Id="rId23" Type="http://schemas.microsoft.com/office/2007/relationships/diagramDrawing" Target="../diagrams/drawing5.xml"/><Relationship Id="rId28" Type="http://schemas.openxmlformats.org/officeDocument/2006/relationships/image" Target="../media/image10.png"/><Relationship Id="rId10" Type="http://schemas.openxmlformats.org/officeDocument/2006/relationships/diagramLayout" Target="../diagrams/layout3.xml"/><Relationship Id="rId19" Type="http://schemas.openxmlformats.org/officeDocument/2006/relationships/diagramData" Target="../diagrams/data5.xml"/><Relationship Id="rId4" Type="http://schemas.openxmlformats.org/officeDocument/2006/relationships/diagramLayout" Target="../diagrams/layout2.xml"/><Relationship Id="rId9" Type="http://schemas.openxmlformats.org/officeDocument/2006/relationships/diagramData" Target="../diagrams/data3.xml"/><Relationship Id="rId14" Type="http://schemas.openxmlformats.org/officeDocument/2006/relationships/diagramData" Target="../diagrams/data4.xml"/><Relationship Id="rId22" Type="http://schemas.openxmlformats.org/officeDocument/2006/relationships/diagramColors" Target="../diagrams/colors5.xml"/><Relationship Id="rId27" Type="http://schemas.openxmlformats.org/officeDocument/2006/relationships/image" Target="../media/image9.sv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E122EB-2FE3-C41D-AD4E-45C004C062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chnical Proposal for NOZOM Servic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1503FB4-374F-E0CE-A25D-A8415DD7C6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4589463"/>
            <a:ext cx="10515600" cy="1500187"/>
          </a:xfrm>
        </p:spPr>
        <p:txBody>
          <a:bodyPr/>
          <a:lstStyle/>
          <a:p>
            <a:r>
              <a:rPr lang="en-US" dirty="0"/>
              <a:t>Auditing Service</a:t>
            </a:r>
          </a:p>
        </p:txBody>
      </p:sp>
    </p:spTree>
    <p:extLst>
      <p:ext uri="{BB962C8B-B14F-4D97-AF65-F5344CB8AC3E}">
        <p14:creationId xmlns:p14="http://schemas.microsoft.com/office/powerpoint/2010/main" val="2079177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7FAB36-77D7-B8D6-B4CD-326DEC3CAF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5" y="1970842"/>
            <a:ext cx="10972799" cy="4132777"/>
          </a:xfrm>
        </p:spPr>
        <p:txBody>
          <a:bodyPr/>
          <a:lstStyle/>
          <a:p>
            <a:r>
              <a:rPr lang="en-US" sz="2800" dirty="0">
                <a:latin typeface="El Messiri Medium" panose="00000600000000000000" pitchFamily="2" charset="-78"/>
                <a:cs typeface="El Messiri Medium" panose="00000600000000000000" pitchFamily="2" charset="-78"/>
              </a:rPr>
              <a:t>Automated Auditing, Workflow Engine</a:t>
            </a:r>
          </a:p>
          <a:p>
            <a:pPr marL="285750" indent="-285750" algn="l">
              <a:buFont typeface="Wingdings" pitchFamily="2" charset="2"/>
              <a:buChar char="ü"/>
            </a:pPr>
            <a:r>
              <a:rPr lang="en-US" sz="1800" b="0" i="0" dirty="0">
                <a:solidFill>
                  <a:srgbClr val="000000"/>
                </a:solidFill>
                <a:effectLst/>
                <a:latin typeface="El Messiri Medium" pitchFamily="2" charset="-78"/>
                <a:cs typeface="El Messiri Medium" pitchFamily="2" charset="-78"/>
              </a:rPr>
              <a:t>Design an automated workflow that triggers notifications and escalations for incomplete or non-compliant deliverables.</a:t>
            </a:r>
          </a:p>
          <a:p>
            <a:pPr marL="285750" indent="-285750" algn="l">
              <a:buFont typeface="Wingdings" pitchFamily="2" charset="2"/>
              <a:buChar char="ü"/>
            </a:pPr>
            <a:r>
              <a:rPr lang="en-US" sz="1800" b="0" i="0" dirty="0">
                <a:solidFill>
                  <a:srgbClr val="000000"/>
                </a:solidFill>
                <a:effectLst/>
                <a:latin typeface="El Messiri Medium" pitchFamily="2" charset="-78"/>
                <a:cs typeface="El Messiri Medium" pitchFamily="2" charset="-78"/>
              </a:rPr>
              <a:t>Implement intelligent routing based on predefined rules, ensuring that the deliverables are directed to the appropriate reviewers or auditors.</a:t>
            </a:r>
          </a:p>
          <a:p>
            <a:pPr marL="285750" indent="-285750" algn="l">
              <a:buFont typeface="Wingdings" pitchFamily="2" charset="2"/>
              <a:buChar char="ü"/>
            </a:pPr>
            <a:r>
              <a:rPr lang="en-US" sz="1800" b="0" i="0" dirty="0">
                <a:solidFill>
                  <a:srgbClr val="000000"/>
                </a:solidFill>
                <a:effectLst/>
                <a:latin typeface="El Messiri Medium" pitchFamily="2" charset="-78"/>
                <a:cs typeface="El Messiri Medium" pitchFamily="2" charset="-78"/>
              </a:rPr>
              <a:t>Automate tasks such as data extraction, cross-referencing, and compliance checks within the workflow to streamline the review process.</a:t>
            </a:r>
          </a:p>
          <a:p>
            <a:pPr marL="285750" indent="-285750" algn="l">
              <a:buFont typeface="Wingdings" pitchFamily="2" charset="2"/>
              <a:buChar char="ü"/>
            </a:pPr>
            <a:r>
              <a:rPr lang="en-US" sz="1800" b="0" i="0" dirty="0">
                <a:solidFill>
                  <a:srgbClr val="000000"/>
                </a:solidFill>
                <a:effectLst/>
                <a:latin typeface="El Messiri Medium" pitchFamily="2" charset="-78"/>
                <a:cs typeface="El Messiri Medium" pitchFamily="2" charset="-78"/>
              </a:rPr>
              <a:t>Leverage workflow management tools or platforms to orchestrate the flow of deliverables and track their progress through the auditing and review stages</a:t>
            </a:r>
          </a:p>
          <a:p>
            <a:pPr marL="342900" indent="-342900" algn="l">
              <a:buFont typeface="Wingdings" pitchFamily="2" charset="2"/>
              <a:buChar char="ü"/>
            </a:pPr>
            <a:endParaRPr lang="en-US" dirty="0">
              <a:latin typeface="El Messiri" pitchFamily="2" charset="-78"/>
              <a:cs typeface="El Messiri" pitchFamily="2" charset="-78"/>
            </a:endParaRPr>
          </a:p>
          <a:p>
            <a:pPr marL="342900" indent="-342900" algn="l">
              <a:buFont typeface="Wingdings" pitchFamily="2" charset="2"/>
              <a:buChar char="ü"/>
            </a:pPr>
            <a:endParaRPr lang="en-US" dirty="0">
              <a:latin typeface="El Messiri" pitchFamily="2" charset="-78"/>
              <a:cs typeface="El Messiri" pitchFamily="2" charset="-78"/>
            </a:endParaRP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DFA209-B1DB-CAE4-AE3E-DF4EA90702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ZOM’s Auditing Service Types</a:t>
            </a:r>
          </a:p>
        </p:txBody>
      </p:sp>
    </p:spTree>
    <p:extLst>
      <p:ext uri="{BB962C8B-B14F-4D97-AF65-F5344CB8AC3E}">
        <p14:creationId xmlns:p14="http://schemas.microsoft.com/office/powerpoint/2010/main" val="3884410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7FAB36-77D7-B8D6-B4CD-326DEC3CAF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5" y="1970842"/>
            <a:ext cx="10972799" cy="4132777"/>
          </a:xfrm>
        </p:spPr>
        <p:txBody>
          <a:bodyPr/>
          <a:lstStyle/>
          <a:p>
            <a:r>
              <a:rPr lang="en-US" sz="2800" dirty="0">
                <a:latin typeface="El Messiri Medium" panose="00000600000000000000" pitchFamily="2" charset="-78"/>
                <a:cs typeface="El Messiri Medium" panose="00000600000000000000" pitchFamily="2" charset="-78"/>
              </a:rPr>
              <a:t>Automated Auditing, Analytics</a:t>
            </a:r>
          </a:p>
          <a:p>
            <a:pPr marL="285750" indent="-285750" algn="l">
              <a:buFont typeface="Wingdings" pitchFamily="2" charset="2"/>
              <a:buChar char="ü"/>
            </a:pPr>
            <a:r>
              <a:rPr lang="en-US" sz="1800" b="0" i="0" dirty="0">
                <a:solidFill>
                  <a:srgbClr val="000000"/>
                </a:solidFill>
                <a:effectLst/>
                <a:latin typeface="El Messiri Medium" pitchFamily="2" charset="-78"/>
                <a:cs typeface="El Messiri Medium" pitchFamily="2" charset="-78"/>
              </a:rPr>
              <a:t>IDP system, self-service platform, and other relevant systems involved in the auditing and review process, for enterprise architecture deliverables, to ensure seamless data flow and information exchange.</a:t>
            </a:r>
          </a:p>
          <a:p>
            <a:pPr marL="285750" indent="-285750" algn="l">
              <a:buFont typeface="Wingdings" pitchFamily="2" charset="2"/>
              <a:buChar char="ü"/>
            </a:pPr>
            <a:r>
              <a:rPr lang="en-US" sz="1800" b="0" i="0" dirty="0">
                <a:solidFill>
                  <a:srgbClr val="000000"/>
                </a:solidFill>
                <a:effectLst/>
                <a:latin typeface="El Messiri Medium" pitchFamily="2" charset="-78"/>
                <a:cs typeface="El Messiri Medium" pitchFamily="2" charset="-78"/>
              </a:rPr>
              <a:t>Leverage analytics capabilities to gain valuable insights from the processed data, identify trends, and track compliance metrics.</a:t>
            </a:r>
          </a:p>
          <a:p>
            <a:pPr marL="285750" indent="-285750" algn="l">
              <a:buFont typeface="Wingdings" pitchFamily="2" charset="2"/>
              <a:buChar char="ü"/>
            </a:pPr>
            <a:r>
              <a:rPr lang="en-US" sz="1800" b="0" i="0" dirty="0">
                <a:solidFill>
                  <a:srgbClr val="000000"/>
                </a:solidFill>
                <a:effectLst/>
                <a:latin typeface="El Messiri Medium" pitchFamily="2" charset="-78"/>
                <a:cs typeface="El Messiri Medium" pitchFamily="2" charset="-78"/>
              </a:rPr>
              <a:t>Enable data visualization and reporting functionalities to provide stakeholders with a clear overview of the auditing process, compliance status, and areas for improvement.</a:t>
            </a:r>
            <a:endParaRPr lang="en-US" dirty="0">
              <a:latin typeface="El Messiri" pitchFamily="2" charset="-78"/>
              <a:cs typeface="El Messiri" pitchFamily="2" charset="-78"/>
            </a:endParaRP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DFA209-B1DB-CAE4-AE3E-DF4EA90702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ZOM’s Auditing Service Types</a:t>
            </a:r>
          </a:p>
        </p:txBody>
      </p:sp>
    </p:spTree>
    <p:extLst>
      <p:ext uri="{BB962C8B-B14F-4D97-AF65-F5344CB8AC3E}">
        <p14:creationId xmlns:p14="http://schemas.microsoft.com/office/powerpoint/2010/main" val="672348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848FEE31-1DC4-B6C5-6D60-2833E9852CC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03732398"/>
              </p:ext>
            </p:extLst>
          </p:nvPr>
        </p:nvGraphicFramePr>
        <p:xfrm>
          <a:off x="609605" y="1970842"/>
          <a:ext cx="10972799" cy="413277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CDFA209-B1DB-CAE4-AE3E-DF4EA90702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flipH="1">
            <a:off x="257449" y="921862"/>
            <a:ext cx="9374230" cy="655478"/>
          </a:xfrm>
        </p:spPr>
        <p:txBody>
          <a:bodyPr/>
          <a:lstStyle/>
          <a:p>
            <a:r>
              <a:rPr lang="en-US" sz="2800" dirty="0"/>
              <a:t>NOZOM’s Auditing Methodologies Differentiation</a:t>
            </a:r>
          </a:p>
        </p:txBody>
      </p:sp>
    </p:spTree>
    <p:extLst>
      <p:ext uri="{BB962C8B-B14F-4D97-AF65-F5344CB8AC3E}">
        <p14:creationId xmlns:p14="http://schemas.microsoft.com/office/powerpoint/2010/main" val="1839135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F882B7-E05F-8141-3935-FA0DB8DFE7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ratgic Roadmap</a:t>
            </a:r>
          </a:p>
        </p:txBody>
      </p:sp>
      <p:graphicFrame>
        <p:nvGraphicFramePr>
          <p:cNvPr id="28" name="Diagram 27">
            <a:extLst>
              <a:ext uri="{FF2B5EF4-FFF2-40B4-BE49-F238E27FC236}">
                <a16:creationId xmlns:a16="http://schemas.microsoft.com/office/drawing/2014/main" id="{B87AC8FF-9606-507C-3AB6-1DE2C8D5DB5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40096112"/>
              </p:ext>
            </p:extLst>
          </p:nvPr>
        </p:nvGraphicFramePr>
        <p:xfrm>
          <a:off x="2032000" y="2474976"/>
          <a:ext cx="8128000" cy="366335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1" name="Subtitle 2">
            <a:extLst>
              <a:ext uri="{FF2B5EF4-FFF2-40B4-BE49-F238E27FC236}">
                <a16:creationId xmlns:a16="http://schemas.microsoft.com/office/drawing/2014/main" id="{4C3BFA53-5B08-F237-D5D1-FCAA18735118}"/>
              </a:ext>
            </a:extLst>
          </p:cNvPr>
          <p:cNvSpPr txBox="1">
            <a:spLocks/>
          </p:cNvSpPr>
          <p:nvPr/>
        </p:nvSpPr>
        <p:spPr>
          <a:xfrm>
            <a:off x="2227558" y="2323499"/>
            <a:ext cx="2211876" cy="605909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5438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400" b="1" u="none" strike="noStrike" kern="1200" cap="none" spc="0" normalizeH="0" baseline="0" noProof="0" dirty="0">
                <a:ln>
                  <a:noFill/>
                </a:ln>
                <a:solidFill>
                  <a:srgbClr val="494949"/>
                </a:solidFill>
                <a:effectLst/>
                <a:uLnTx/>
                <a:uFillTx/>
                <a:latin typeface="Roboto Condensed Light" panose="02000000000000000000" pitchFamily="2" charset="0"/>
                <a:ea typeface="Roboto Condensed Light" panose="02000000000000000000" pitchFamily="2" charset="0"/>
                <a:cs typeface="Mukta ExtraLight" panose="020B0000000000000000" pitchFamily="34" charset="77"/>
              </a:rPr>
              <a:t>Standardized Catalogs 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CAC11248-F095-C1A7-A408-09F636FA0ABC}"/>
              </a:ext>
            </a:extLst>
          </p:cNvPr>
          <p:cNvSpPr txBox="1">
            <a:spLocks/>
          </p:cNvSpPr>
          <p:nvPr/>
        </p:nvSpPr>
        <p:spPr>
          <a:xfrm>
            <a:off x="4830064" y="2172021"/>
            <a:ext cx="2211876" cy="908864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5438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400" b="1" u="none" strike="noStrike" kern="1200" cap="none" spc="0" normalizeH="0" baseline="0" noProof="0" dirty="0">
                <a:ln>
                  <a:noFill/>
                </a:ln>
                <a:solidFill>
                  <a:srgbClr val="494949"/>
                </a:solidFill>
                <a:effectLst/>
                <a:uLnTx/>
                <a:uFillTx/>
                <a:latin typeface="Roboto Condensed Light" panose="02000000000000000000" pitchFamily="2" charset="0"/>
                <a:ea typeface="Roboto Condensed Light" panose="02000000000000000000" pitchFamily="2" charset="0"/>
                <a:cs typeface="Mukta ExtraLight" panose="020B0000000000000000" pitchFamily="34" charset="77"/>
              </a:rPr>
              <a:t>Virtual EA Adoption on the Enterprise Government</a:t>
            </a:r>
          </a:p>
        </p:txBody>
      </p:sp>
      <p:sp>
        <p:nvSpPr>
          <p:cNvPr id="33" name="Subtitle 2">
            <a:extLst>
              <a:ext uri="{FF2B5EF4-FFF2-40B4-BE49-F238E27FC236}">
                <a16:creationId xmlns:a16="http://schemas.microsoft.com/office/drawing/2014/main" id="{0E43EAE2-F74A-5180-3650-F75B77773854}"/>
              </a:ext>
            </a:extLst>
          </p:cNvPr>
          <p:cNvSpPr txBox="1">
            <a:spLocks/>
          </p:cNvSpPr>
          <p:nvPr/>
        </p:nvSpPr>
        <p:spPr>
          <a:xfrm>
            <a:off x="8045903" y="2020545"/>
            <a:ext cx="2211876" cy="1211818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5438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400" b="1" u="none" strike="noStrike" kern="1200" cap="none" spc="0" normalizeH="0" baseline="0" noProof="0" dirty="0">
                <a:ln>
                  <a:noFill/>
                </a:ln>
                <a:solidFill>
                  <a:srgbClr val="494949"/>
                </a:solidFill>
                <a:effectLst/>
                <a:uLnTx/>
                <a:uFillTx/>
                <a:latin typeface="Roboto Condensed Light" panose="02000000000000000000" pitchFamily="2" charset="0"/>
                <a:ea typeface="Roboto Condensed Light" panose="02000000000000000000" pitchFamily="2" charset="0"/>
                <a:cs typeface="Mukta ExtraLight" panose="020B0000000000000000" pitchFamily="34" charset="77"/>
              </a:rPr>
              <a:t>Enterprise Governmental Metadata across all Gov entities</a:t>
            </a:r>
          </a:p>
        </p:txBody>
      </p:sp>
    </p:spTree>
    <p:extLst>
      <p:ext uri="{BB962C8B-B14F-4D97-AF65-F5344CB8AC3E}">
        <p14:creationId xmlns:p14="http://schemas.microsoft.com/office/powerpoint/2010/main" val="1295194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9A474F9-5334-4F44-A334-1FDB03ED6A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9290" y="182880"/>
            <a:ext cx="10515600" cy="5902959"/>
          </a:xfrm>
        </p:spPr>
        <p:txBody>
          <a:bodyPr/>
          <a:lstStyle/>
          <a:p>
            <a:r>
              <a:rPr lang="en-US" sz="1200" b="1" dirty="0"/>
              <a:t>Compliance Reporting To ensure timely and accurate compliance reporting, we will adhere to the following steps:</a:t>
            </a:r>
          </a:p>
          <a:p>
            <a:r>
              <a:rPr lang="en-US" sz="1200" b="1" dirty="0"/>
              <a:t>Regular Reporting: We will conduct periodic assessments to evaluate the organization's compliance posture and generate a report within 72 hours.</a:t>
            </a:r>
          </a:p>
          <a:p>
            <a:r>
              <a:rPr lang="en-US" sz="1200" b="1" dirty="0"/>
              <a:t>Incident Response: In case of a suspected security incident, we will promptly initiate an investigation, report the findings, and provide remediation recommendations to the DGA.</a:t>
            </a:r>
          </a:p>
          <a:p>
            <a:r>
              <a:rPr lang="en-US" sz="1200" b="1" dirty="0"/>
              <a:t>Risk Assessment: We will perform a risk assessment on a regular basis to identify, assess, and prioritize risks and their impact on the organization's operations and assets.</a:t>
            </a:r>
          </a:p>
          <a:p>
            <a:r>
              <a:rPr lang="en-US" sz="1200" b="1" dirty="0"/>
              <a:t>Report Review: We will provide a copy of the report to the DGA for their review and comments. Any discrepancies will be promptly addressed, and the revised report will be sent to the DGA.</a:t>
            </a:r>
          </a:p>
          <a:p>
            <a:r>
              <a:rPr lang="en-US" sz="1200" b="1" dirty="0"/>
              <a:t>Continuous Improvement: Based on the findings and recommendations in the reports, we will collaborate with the DGA to implement necessary improvements in their systems, processes, and security controls.</a:t>
            </a:r>
          </a:p>
          <a:p>
            <a:r>
              <a:rPr lang="en-US" sz="1200" b="1" dirty="0"/>
              <a:t>In addition to these steps, we will also:</a:t>
            </a:r>
          </a:p>
          <a:p>
            <a:r>
              <a:rPr lang="en-US" sz="1200" b="1" dirty="0"/>
              <a:t>Monitor Compliance: We will monitor the DGA's compliance with industry regulations, standards, and guidelines on an ongoing basis.</a:t>
            </a:r>
          </a:p>
          <a:p>
            <a:r>
              <a:rPr lang="en-US" sz="1200" b="1" dirty="0"/>
              <a:t>Collaborate with the DGA: We will collaborate with the DGA's team to ensure that any risks and incidents are effectively mitigated and addressed.</a:t>
            </a:r>
          </a:p>
          <a:p>
            <a:r>
              <a:rPr lang="en-US" sz="1200" b="1" dirty="0"/>
              <a:t>Document Compliance Process: We will maintain detailed records of the compliance assessment and reporting process to facilitate continuous improvement and audit trail generation.</a:t>
            </a:r>
          </a:p>
          <a:p>
            <a:r>
              <a:rPr lang="en-US" sz="1200" b="1" dirty="0"/>
              <a:t>By following these steps and maintaining close collaboration with the DGA, we can help ensure timely, accurate, and comprehensive compliance reporting.</a:t>
            </a:r>
          </a:p>
        </p:txBody>
      </p:sp>
    </p:spTree>
    <p:extLst>
      <p:ext uri="{BB962C8B-B14F-4D97-AF65-F5344CB8AC3E}">
        <p14:creationId xmlns:p14="http://schemas.microsoft.com/office/powerpoint/2010/main" val="3947753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05526E76-AB6F-E30F-EF20-5F6197C56B1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82427781"/>
              </p:ext>
            </p:extLst>
          </p:nvPr>
        </p:nvGraphicFramePr>
        <p:xfrm>
          <a:off x="257451" y="1819923"/>
          <a:ext cx="11324953" cy="47051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118A5B5-E5FC-31C6-14B8-ECD4DBD76E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diting Approach</a:t>
            </a:r>
          </a:p>
        </p:txBody>
      </p:sp>
    </p:spTree>
    <p:extLst>
      <p:ext uri="{BB962C8B-B14F-4D97-AF65-F5344CB8AC3E}">
        <p14:creationId xmlns:p14="http://schemas.microsoft.com/office/powerpoint/2010/main" val="3161832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7FAB36-77D7-B8D6-B4CD-326DEC3CAF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5" y="1970842"/>
            <a:ext cx="10972799" cy="4132777"/>
          </a:xfrm>
        </p:spPr>
        <p:txBody>
          <a:bodyPr/>
          <a:lstStyle/>
          <a:p>
            <a:r>
              <a:rPr lang="en-US" sz="2800" dirty="0">
                <a:latin typeface="El Messiri Medium" panose="00000600000000000000" pitchFamily="2" charset="-78"/>
                <a:cs typeface="El Messiri Medium" panose="00000600000000000000" pitchFamily="2" charset="-78"/>
              </a:rPr>
              <a:t>Manual Auditing</a:t>
            </a:r>
          </a:p>
          <a:p>
            <a:pPr marL="342900" lvl="1" indent="-342900">
              <a:lnSpc>
                <a:spcPct val="150000"/>
              </a:lnSpc>
              <a:spcAft>
                <a:spcPts val="600"/>
              </a:spcAft>
              <a:buFont typeface="Wingdings" pitchFamily="2" charset="2"/>
              <a:buChar char="ü"/>
            </a:pPr>
            <a:r>
              <a:rPr lang="en-US" b="0" dirty="0">
                <a:latin typeface="El Messiri" pitchFamily="2" charset="-78"/>
                <a:cs typeface="El Messiri" pitchFamily="2" charset="-78"/>
              </a:rPr>
              <a:t>In terms of manual auditing, our team will consist of an on-site team available at the DGA HQ and an off-shore team.</a:t>
            </a:r>
          </a:p>
          <a:p>
            <a:pPr marL="342900" lvl="1" indent="-342900">
              <a:lnSpc>
                <a:spcPct val="150000"/>
              </a:lnSpc>
              <a:spcAft>
                <a:spcPts val="600"/>
              </a:spcAft>
              <a:buFont typeface="Wingdings" pitchFamily="2" charset="2"/>
              <a:buChar char="ü"/>
            </a:pPr>
            <a:r>
              <a:rPr lang="en-US" b="0" dirty="0">
                <a:latin typeface="El Messiri" pitchFamily="2" charset="-78"/>
                <a:cs typeface="El Messiri" pitchFamily="2" charset="-78"/>
              </a:rPr>
              <a:t>Both teams will be implementing our approach of auditing as explained previously.</a:t>
            </a:r>
          </a:p>
          <a:p>
            <a:pPr marL="342900" lvl="1" indent="-342900">
              <a:lnSpc>
                <a:spcPct val="150000"/>
              </a:lnSpc>
              <a:spcAft>
                <a:spcPts val="600"/>
              </a:spcAft>
              <a:buFont typeface="Wingdings" pitchFamily="2" charset="2"/>
              <a:buChar char="ü"/>
            </a:pPr>
            <a:r>
              <a:rPr lang="en-US" b="0" dirty="0">
                <a:latin typeface="El Messiri" pitchFamily="2" charset="-78"/>
                <a:cs typeface="El Messiri" pitchFamily="2" charset="-78"/>
              </a:rPr>
              <a:t>Both teams will either support the DGA team in auditing or carry their own audits.</a:t>
            </a:r>
          </a:p>
          <a:p>
            <a:pPr marL="342900" lvl="1" indent="-342900">
              <a:lnSpc>
                <a:spcPct val="150000"/>
              </a:lnSpc>
              <a:spcAft>
                <a:spcPts val="600"/>
              </a:spcAft>
              <a:buFont typeface="Wingdings" pitchFamily="2" charset="2"/>
              <a:buChar char="ü"/>
            </a:pPr>
            <a:r>
              <a:rPr lang="en-US" b="0" dirty="0">
                <a:latin typeface="El Messiri" pitchFamily="2" charset="-78"/>
                <a:cs typeface="El Messiri" pitchFamily="2" charset="-78"/>
              </a:rPr>
              <a:t>The Off-shore Team will be responsible for proofing and updating the assessment automated bot findings.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DFA209-B1DB-CAE4-AE3E-DF4EA90702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ZOM’s Auditing Service Types</a:t>
            </a:r>
          </a:p>
        </p:txBody>
      </p:sp>
    </p:spTree>
    <p:extLst>
      <p:ext uri="{BB962C8B-B14F-4D97-AF65-F5344CB8AC3E}">
        <p14:creationId xmlns:p14="http://schemas.microsoft.com/office/powerpoint/2010/main" val="471317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E837CD-8DC7-B57D-841F-5918716773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ZOM’s Auditing Service Types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0E521FF-F85E-59DE-C796-B3B03FE9646E}"/>
              </a:ext>
            </a:extLst>
          </p:cNvPr>
          <p:cNvSpPr txBox="1">
            <a:spLocks/>
          </p:cNvSpPr>
          <p:nvPr/>
        </p:nvSpPr>
        <p:spPr>
          <a:xfrm>
            <a:off x="316350" y="53680"/>
            <a:ext cx="11569700" cy="4876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400" dirty="0">
              <a:solidFill>
                <a:srgbClr val="0070C0"/>
              </a:solidFill>
              <a:latin typeface="Calibri" panose="020F0502020204030204" pitchFamily="34" charset="0"/>
              <a:ea typeface="ＭＳ Ｐゴシック" pitchFamily="34" charset="-128"/>
              <a:cs typeface="Calibri" panose="020F0502020204030204" pitchFamily="34" charset="0"/>
            </a:endParaRP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DAD68A20-886A-7EF8-0A5A-5A6F9017D9E1}"/>
              </a:ext>
            </a:extLst>
          </p:cNvPr>
          <p:cNvGrpSpPr/>
          <p:nvPr/>
        </p:nvGrpSpPr>
        <p:grpSpPr>
          <a:xfrm>
            <a:off x="106904" y="2575059"/>
            <a:ext cx="11978192" cy="3911577"/>
            <a:chOff x="213808" y="1250346"/>
            <a:chExt cx="11978192" cy="5040447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8CAFC0BC-F371-6238-AEFC-3645FD7CA370}"/>
                </a:ext>
              </a:extLst>
            </p:cNvPr>
            <p:cNvGrpSpPr/>
            <p:nvPr/>
          </p:nvGrpSpPr>
          <p:grpSpPr>
            <a:xfrm>
              <a:off x="213808" y="1250346"/>
              <a:ext cx="11978192" cy="5040447"/>
              <a:chOff x="70373" y="1109605"/>
              <a:chExt cx="11978192" cy="4569536"/>
            </a:xfrm>
          </p:grpSpPr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37DBCF67-41AF-42EE-8A8E-497EBA8CF50B}"/>
                  </a:ext>
                </a:extLst>
              </p:cNvPr>
              <p:cNvSpPr/>
              <p:nvPr/>
            </p:nvSpPr>
            <p:spPr>
              <a:xfrm>
                <a:off x="1299904" y="1155209"/>
                <a:ext cx="2580643" cy="4383034"/>
              </a:xfrm>
              <a:prstGeom prst="rect">
                <a:avLst/>
              </a:prstGeom>
              <a:solidFill>
                <a:srgbClr val="FFFFFF">
                  <a:lumMod val="8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0DB0C41F-C163-85A7-DA5E-A4624DD132A1}"/>
                  </a:ext>
                </a:extLst>
              </p:cNvPr>
              <p:cNvSpPr/>
              <p:nvPr/>
            </p:nvSpPr>
            <p:spPr>
              <a:xfrm>
                <a:off x="3964758" y="1155210"/>
                <a:ext cx="3035395" cy="4383034"/>
              </a:xfrm>
              <a:prstGeom prst="rect">
                <a:avLst/>
              </a:prstGeom>
              <a:solidFill>
                <a:srgbClr val="9DBACA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C2E77C4A-C34E-A7B9-B5EC-CD5002412654}"/>
                  </a:ext>
                </a:extLst>
              </p:cNvPr>
              <p:cNvSpPr/>
              <p:nvPr/>
            </p:nvSpPr>
            <p:spPr>
              <a:xfrm>
                <a:off x="7047739" y="1155210"/>
                <a:ext cx="2347081" cy="4383034"/>
              </a:xfrm>
              <a:prstGeom prst="rect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9" name="Rounded Rectangle 16">
                <a:extLst>
                  <a:ext uri="{FF2B5EF4-FFF2-40B4-BE49-F238E27FC236}">
                    <a16:creationId xmlns:a16="http://schemas.microsoft.com/office/drawing/2014/main" id="{B99B8AF3-E622-8AD7-15F1-8D6DCE44901B}"/>
                  </a:ext>
                </a:extLst>
              </p:cNvPr>
              <p:cNvSpPr/>
              <p:nvPr/>
            </p:nvSpPr>
            <p:spPr>
              <a:xfrm>
                <a:off x="70374" y="1497462"/>
                <a:ext cx="9424183" cy="971365"/>
              </a:xfrm>
              <a:prstGeom prst="roundRect">
                <a:avLst/>
              </a:prstGeom>
              <a:noFill/>
              <a:ln w="12700" cap="flat" cmpd="sng" algn="ctr">
                <a:solidFill>
                  <a:srgbClr val="0033B4">
                    <a:shade val="50000"/>
                  </a:srgbClr>
                </a:solidFill>
                <a:prstDash val="sysDash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pic>
            <p:nvPicPr>
              <p:cNvPr id="10" name="Picture 9">
                <a:extLst>
                  <a:ext uri="{FF2B5EF4-FFF2-40B4-BE49-F238E27FC236}">
                    <a16:creationId xmlns:a16="http://schemas.microsoft.com/office/drawing/2014/main" id="{AAEE3907-BD0F-16D3-0E49-5788E9B2901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>
              <a:xfrm>
                <a:off x="2123918" y="1656918"/>
                <a:ext cx="334724" cy="350326"/>
              </a:xfrm>
              <a:prstGeom prst="rect">
                <a:avLst/>
              </a:prstGeom>
            </p:spPr>
          </p:pic>
          <p:pic>
            <p:nvPicPr>
              <p:cNvPr id="11" name="Picture 10">
                <a:extLst>
                  <a:ext uri="{FF2B5EF4-FFF2-40B4-BE49-F238E27FC236}">
                    <a16:creationId xmlns:a16="http://schemas.microsoft.com/office/drawing/2014/main" id="{4424469F-66EC-2AA1-0418-6CB60199F1B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>
              <a:xfrm>
                <a:off x="2525171" y="1656918"/>
                <a:ext cx="334724" cy="350326"/>
              </a:xfrm>
              <a:prstGeom prst="rect">
                <a:avLst/>
              </a:prstGeom>
            </p:spPr>
          </p:pic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9D974F66-B7AD-C9AD-2F99-1B916FC8A03B}"/>
                  </a:ext>
                </a:extLst>
              </p:cNvPr>
              <p:cNvSpPr txBox="1"/>
              <p:nvPr/>
            </p:nvSpPr>
            <p:spPr>
              <a:xfrm flipH="1">
                <a:off x="1906525" y="1985619"/>
                <a:ext cx="1174505" cy="430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dirty="0">
                    <a:solidFill>
                      <a:srgbClr val="0033A0"/>
                    </a:solidFill>
                    <a:latin typeface="Tw Cen MT" panose="020B0602020104020603" pitchFamily="34" charset="0"/>
                  </a:rPr>
                  <a:t>Executive Sponsors</a:t>
                </a:r>
              </a:p>
            </p:txBody>
          </p:sp>
          <p:pic>
            <p:nvPicPr>
              <p:cNvPr id="13" name="Picture 12">
                <a:extLst>
                  <a:ext uri="{FF2B5EF4-FFF2-40B4-BE49-F238E27FC236}">
                    <a16:creationId xmlns:a16="http://schemas.microsoft.com/office/drawing/2014/main" id="{D8B47DBE-17BE-27A0-9B1B-013A4C24F49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srgbClr val="7BA0FF">
                    <a:shade val="45000"/>
                    <a:satMod val="135000"/>
                  </a:srgb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5314127" y="1627911"/>
                <a:ext cx="334724" cy="350326"/>
              </a:xfrm>
              <a:prstGeom prst="rect">
                <a:avLst/>
              </a:prstGeom>
            </p:spPr>
          </p:pic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FDD8EEA0-ED77-FE05-DCDE-946F6EC97449}"/>
                  </a:ext>
                </a:extLst>
              </p:cNvPr>
              <p:cNvSpPr txBox="1"/>
              <p:nvPr/>
            </p:nvSpPr>
            <p:spPr>
              <a:xfrm flipH="1">
                <a:off x="5041403" y="2017734"/>
                <a:ext cx="880173" cy="430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dirty="0">
                    <a:solidFill>
                      <a:srgbClr val="0033A0"/>
                    </a:solidFill>
                    <a:latin typeface="Tw Cen MT" panose="020B0602020104020603" pitchFamily="34" charset="0"/>
                  </a:rPr>
                  <a:t>Client Partner</a:t>
                </a:r>
              </a:p>
            </p:txBody>
          </p:sp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35AB12B3-7410-7994-E8E4-9E40244F43D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srgbClr val="BDCFFF">
                    <a:shade val="45000"/>
                    <a:satMod val="135000"/>
                  </a:srgb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7970992" y="1613835"/>
                <a:ext cx="334724" cy="350326"/>
              </a:xfrm>
              <a:prstGeom prst="rect">
                <a:avLst/>
              </a:prstGeom>
            </p:spPr>
          </p:pic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0664ABEE-B2D7-AEAC-A14E-D53B1C83E5A8}"/>
                  </a:ext>
                </a:extLst>
              </p:cNvPr>
              <p:cNvSpPr txBox="1"/>
              <p:nvPr/>
            </p:nvSpPr>
            <p:spPr>
              <a:xfrm flipH="1">
                <a:off x="7622372" y="2011647"/>
                <a:ext cx="1065009" cy="430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dirty="0">
                    <a:solidFill>
                      <a:srgbClr val="0033A0"/>
                    </a:solidFill>
                    <a:latin typeface="Tw Cen MT" panose="020B0602020104020603" pitchFamily="34" charset="0"/>
                  </a:rPr>
                  <a:t>Delivery Partner</a:t>
                </a:r>
              </a:p>
            </p:txBody>
          </p:sp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8A8DA714-A1F4-46E1-9582-A285A047C5C4}"/>
                  </a:ext>
                </a:extLst>
              </p:cNvPr>
              <p:cNvSpPr txBox="1"/>
              <p:nvPr/>
            </p:nvSpPr>
            <p:spPr>
              <a:xfrm>
                <a:off x="161403" y="1725347"/>
                <a:ext cx="1251805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600" b="1" dirty="0">
                    <a:solidFill>
                      <a:srgbClr val="0033A0"/>
                    </a:solidFill>
                    <a:latin typeface="Tw Cen MT" panose="020B0602020104020603" pitchFamily="34" charset="0"/>
                  </a:rPr>
                  <a:t>Steering Committee</a:t>
                </a:r>
              </a:p>
            </p:txBody>
          </p:sp>
          <p:sp>
            <p:nvSpPr>
              <p:cNvPr id="18" name="Rounded Rectangle 30">
                <a:extLst>
                  <a:ext uri="{FF2B5EF4-FFF2-40B4-BE49-F238E27FC236}">
                    <a16:creationId xmlns:a16="http://schemas.microsoft.com/office/drawing/2014/main" id="{D38AF2EF-2FEA-A2B7-DE6C-24C1D16E975E}"/>
                  </a:ext>
                </a:extLst>
              </p:cNvPr>
              <p:cNvSpPr/>
              <p:nvPr/>
            </p:nvSpPr>
            <p:spPr>
              <a:xfrm>
                <a:off x="70373" y="2642054"/>
                <a:ext cx="9424184" cy="971365"/>
              </a:xfrm>
              <a:prstGeom prst="roundRect">
                <a:avLst/>
              </a:prstGeom>
              <a:noFill/>
              <a:ln w="12700" cap="flat" cmpd="sng" algn="ctr">
                <a:solidFill>
                  <a:srgbClr val="0033B4">
                    <a:shade val="50000"/>
                  </a:srgbClr>
                </a:solidFill>
                <a:prstDash val="sysDash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647D0382-0E27-E245-6F4F-333C21AB11C2}"/>
                  </a:ext>
                </a:extLst>
              </p:cNvPr>
              <p:cNvSpPr txBox="1"/>
              <p:nvPr/>
            </p:nvSpPr>
            <p:spPr>
              <a:xfrm>
                <a:off x="118343" y="2725996"/>
                <a:ext cx="1346729" cy="53014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600" b="1" dirty="0">
                    <a:solidFill>
                      <a:srgbClr val="0033A0"/>
                    </a:solidFill>
                    <a:latin typeface="Tw Cen MT" panose="020B0602020104020603" pitchFamily="34" charset="0"/>
                  </a:rPr>
                  <a:t>Project Management</a:t>
                </a:r>
              </a:p>
            </p:txBody>
          </p:sp>
          <p:pic>
            <p:nvPicPr>
              <p:cNvPr id="20" name="Picture 19">
                <a:extLst>
                  <a:ext uri="{FF2B5EF4-FFF2-40B4-BE49-F238E27FC236}">
                    <a16:creationId xmlns:a16="http://schemas.microsoft.com/office/drawing/2014/main" id="{AAD2E1E6-E4DA-E220-B180-1067D4933AF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>
              <a:xfrm>
                <a:off x="1733309" y="2781177"/>
                <a:ext cx="334724" cy="350326"/>
              </a:xfrm>
              <a:prstGeom prst="rect">
                <a:avLst/>
              </a:prstGeom>
            </p:spPr>
          </p:pic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CB43C636-73A3-BA3A-E181-0FE21DA9BDAE}"/>
                  </a:ext>
                </a:extLst>
              </p:cNvPr>
              <p:cNvSpPr txBox="1"/>
              <p:nvPr/>
            </p:nvSpPr>
            <p:spPr>
              <a:xfrm flipH="1">
                <a:off x="1357359" y="3097298"/>
                <a:ext cx="1071464" cy="430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dirty="0">
                    <a:solidFill>
                      <a:srgbClr val="0033A0"/>
                    </a:solidFill>
                    <a:latin typeface="Tw Cen MT" panose="020B0602020104020603" pitchFamily="34" charset="0"/>
                  </a:rPr>
                  <a:t>Program Director</a:t>
                </a: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DA863123-BB0D-69D4-1B3D-FCA559506368}"/>
                  </a:ext>
                </a:extLst>
              </p:cNvPr>
              <p:cNvSpPr txBox="1"/>
              <p:nvPr/>
            </p:nvSpPr>
            <p:spPr>
              <a:xfrm flipH="1">
                <a:off x="4146204" y="3115646"/>
                <a:ext cx="1366683" cy="23716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dirty="0">
                    <a:solidFill>
                      <a:srgbClr val="0033A0"/>
                    </a:solidFill>
                    <a:latin typeface="Tw Cen MT" panose="020B0602020104020603" pitchFamily="34" charset="0"/>
                  </a:rPr>
                  <a:t>Advisory</a:t>
                </a:r>
              </a:p>
            </p:txBody>
          </p:sp>
          <p:pic>
            <p:nvPicPr>
              <p:cNvPr id="23" name="Picture 22">
                <a:extLst>
                  <a:ext uri="{FF2B5EF4-FFF2-40B4-BE49-F238E27FC236}">
                    <a16:creationId xmlns:a16="http://schemas.microsoft.com/office/drawing/2014/main" id="{A0B61A62-E118-2109-AFA7-74691557481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srgbClr val="7BA0FF">
                    <a:shade val="45000"/>
                    <a:satMod val="135000"/>
                  </a:srgb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5293314" y="2738448"/>
                <a:ext cx="334724" cy="350326"/>
              </a:xfrm>
              <a:prstGeom prst="rect">
                <a:avLst/>
              </a:prstGeom>
            </p:spPr>
          </p:pic>
          <p:pic>
            <p:nvPicPr>
              <p:cNvPr id="24" name="Picture 23">
                <a:extLst>
                  <a:ext uri="{FF2B5EF4-FFF2-40B4-BE49-F238E27FC236}">
                    <a16:creationId xmlns:a16="http://schemas.microsoft.com/office/drawing/2014/main" id="{4E7E5847-72D3-04F2-7E86-06540F8FF6B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srgbClr val="7BA0FF">
                    <a:shade val="45000"/>
                    <a:satMod val="135000"/>
                  </a:srgb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5846890" y="2738448"/>
                <a:ext cx="334724" cy="350326"/>
              </a:xfrm>
              <a:prstGeom prst="rect">
                <a:avLst/>
              </a:prstGeom>
            </p:spPr>
          </p:pic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8DD859B3-7D1C-50E7-1AFC-81F599110A37}"/>
                  </a:ext>
                </a:extLst>
              </p:cNvPr>
              <p:cNvSpPr txBox="1"/>
              <p:nvPr/>
            </p:nvSpPr>
            <p:spPr>
              <a:xfrm flipH="1">
                <a:off x="5020040" y="3103629"/>
                <a:ext cx="880173" cy="3917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dirty="0">
                    <a:solidFill>
                      <a:srgbClr val="0033A0"/>
                    </a:solidFill>
                    <a:latin typeface="Tw Cen MT" panose="020B0602020104020603" pitchFamily="34" charset="0"/>
                  </a:rPr>
                  <a:t>QA Managers</a:t>
                </a:r>
              </a:p>
            </p:txBody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9E385757-E900-070B-17D6-F80C7BB32764}"/>
                  </a:ext>
                </a:extLst>
              </p:cNvPr>
              <p:cNvSpPr txBox="1"/>
              <p:nvPr/>
            </p:nvSpPr>
            <p:spPr>
              <a:xfrm flipH="1">
                <a:off x="5495867" y="3114490"/>
                <a:ext cx="1065009" cy="3917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dirty="0">
                    <a:solidFill>
                      <a:srgbClr val="0033A0"/>
                    </a:solidFill>
                    <a:latin typeface="Tw Cen MT" panose="020B0602020104020603" pitchFamily="34" charset="0"/>
                  </a:rPr>
                  <a:t>Domain </a:t>
                </a:r>
              </a:p>
              <a:p>
                <a:pPr algn="ctr"/>
                <a:r>
                  <a:rPr lang="en-US" sz="1100" dirty="0">
                    <a:solidFill>
                      <a:srgbClr val="0033A0"/>
                    </a:solidFill>
                    <a:latin typeface="Tw Cen MT" panose="020B0602020104020603" pitchFamily="34" charset="0"/>
                  </a:rPr>
                  <a:t>Experts</a:t>
                </a:r>
              </a:p>
            </p:txBody>
          </p:sp>
          <p:pic>
            <p:nvPicPr>
              <p:cNvPr id="27" name="Picture 26">
                <a:extLst>
                  <a:ext uri="{FF2B5EF4-FFF2-40B4-BE49-F238E27FC236}">
                    <a16:creationId xmlns:a16="http://schemas.microsoft.com/office/drawing/2014/main" id="{97ECE6D8-770C-D7F0-1EE5-5D0F8B7C818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srgbClr val="BDCFFF">
                    <a:shade val="45000"/>
                    <a:satMod val="135000"/>
                  </a:srgb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7543743" y="2781177"/>
                <a:ext cx="334724" cy="350326"/>
              </a:xfrm>
              <a:prstGeom prst="rect">
                <a:avLst/>
              </a:prstGeom>
            </p:spPr>
          </p:pic>
          <p:pic>
            <p:nvPicPr>
              <p:cNvPr id="28" name="Picture 27">
                <a:extLst>
                  <a:ext uri="{FF2B5EF4-FFF2-40B4-BE49-F238E27FC236}">
                    <a16:creationId xmlns:a16="http://schemas.microsoft.com/office/drawing/2014/main" id="{0D4E0473-8A23-9D81-68A3-04D9A85B614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srgbClr val="BDCFFF">
                    <a:shade val="45000"/>
                    <a:satMod val="135000"/>
                  </a:srgb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8418969" y="2781177"/>
                <a:ext cx="334724" cy="350326"/>
              </a:xfrm>
              <a:prstGeom prst="rect">
                <a:avLst/>
              </a:prstGeom>
            </p:spPr>
          </p:pic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2E263175-C33C-A887-584A-A4A81E7BB3B4}"/>
                  </a:ext>
                </a:extLst>
              </p:cNvPr>
              <p:cNvSpPr txBox="1"/>
              <p:nvPr/>
            </p:nvSpPr>
            <p:spPr>
              <a:xfrm flipH="1">
                <a:off x="7259890" y="3128148"/>
                <a:ext cx="880173" cy="50336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dirty="0">
                    <a:solidFill>
                      <a:srgbClr val="0033A0"/>
                    </a:solidFill>
                    <a:latin typeface="Tw Cen MT" panose="020B0602020104020603" pitchFamily="34" charset="0"/>
                  </a:rPr>
                  <a:t>QA Managers</a:t>
                </a: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68E574A0-C595-E0C7-864A-A6505C2DAA3A}"/>
                  </a:ext>
                </a:extLst>
              </p:cNvPr>
              <p:cNvSpPr txBox="1"/>
              <p:nvPr/>
            </p:nvSpPr>
            <p:spPr>
              <a:xfrm flipH="1">
                <a:off x="8102048" y="3115398"/>
                <a:ext cx="1065009" cy="430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dirty="0">
                    <a:solidFill>
                      <a:srgbClr val="0033A0"/>
                    </a:solidFill>
                    <a:latin typeface="Tw Cen MT" panose="020B0602020104020603" pitchFamily="34" charset="0"/>
                  </a:rPr>
                  <a:t>Senior Domain Experts</a:t>
                </a:r>
              </a:p>
            </p:txBody>
          </p:sp>
          <p:sp>
            <p:nvSpPr>
              <p:cNvPr id="31" name="Rounded Rectangle 48">
                <a:extLst>
                  <a:ext uri="{FF2B5EF4-FFF2-40B4-BE49-F238E27FC236}">
                    <a16:creationId xmlns:a16="http://schemas.microsoft.com/office/drawing/2014/main" id="{1C94B08B-BADD-D5E7-100E-C25D5488CA1A}"/>
                  </a:ext>
                </a:extLst>
              </p:cNvPr>
              <p:cNvSpPr/>
              <p:nvPr/>
            </p:nvSpPr>
            <p:spPr>
              <a:xfrm>
                <a:off x="70373" y="3705575"/>
                <a:ext cx="9424184" cy="1973566"/>
              </a:xfrm>
              <a:prstGeom prst="roundRect">
                <a:avLst/>
              </a:prstGeom>
              <a:noFill/>
              <a:ln w="12700" cap="flat" cmpd="sng" algn="ctr">
                <a:solidFill>
                  <a:srgbClr val="0033B4">
                    <a:shade val="50000"/>
                  </a:srgbClr>
                </a:solidFill>
                <a:prstDash val="sysDash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w Cen MT" panose="020B0602020104020603" pitchFamily="34" charset="0"/>
                </a:endParaRP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43DF855C-B432-3AA1-C92A-CA08179E6C24}"/>
                  </a:ext>
                </a:extLst>
              </p:cNvPr>
              <p:cNvSpPr txBox="1"/>
              <p:nvPr/>
            </p:nvSpPr>
            <p:spPr>
              <a:xfrm>
                <a:off x="156332" y="4086572"/>
                <a:ext cx="902075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600" b="1" dirty="0">
                    <a:solidFill>
                      <a:srgbClr val="0033A0"/>
                    </a:solidFill>
                    <a:latin typeface="Tw Cen MT" panose="020B0602020104020603" pitchFamily="34" charset="0"/>
                  </a:rPr>
                  <a:t>Delivery Team  </a:t>
                </a:r>
              </a:p>
            </p:txBody>
          </p:sp>
          <p:pic>
            <p:nvPicPr>
              <p:cNvPr id="33" name="Picture 32">
                <a:extLst>
                  <a:ext uri="{FF2B5EF4-FFF2-40B4-BE49-F238E27FC236}">
                    <a16:creationId xmlns:a16="http://schemas.microsoft.com/office/drawing/2014/main" id="{80305D65-7212-998D-217B-310E091D622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>
              <a:xfrm>
                <a:off x="2823238" y="2781177"/>
                <a:ext cx="334724" cy="350326"/>
              </a:xfrm>
              <a:prstGeom prst="rect">
                <a:avLst/>
              </a:prstGeom>
            </p:spPr>
          </p:pic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F17B17B3-7B62-29CE-0E50-429403F45E20}"/>
                  </a:ext>
                </a:extLst>
              </p:cNvPr>
              <p:cNvSpPr txBox="1"/>
              <p:nvPr/>
            </p:nvSpPr>
            <p:spPr>
              <a:xfrm flipH="1">
                <a:off x="2459427" y="3118376"/>
                <a:ext cx="1110432" cy="50336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dirty="0">
                    <a:solidFill>
                      <a:srgbClr val="0033A0"/>
                    </a:solidFill>
                    <a:latin typeface="Tw Cen MT" panose="020B0602020104020603" pitchFamily="34" charset="0"/>
                  </a:rPr>
                  <a:t>Project Manager</a:t>
                </a:r>
              </a:p>
            </p:txBody>
          </p:sp>
          <p:pic>
            <p:nvPicPr>
              <p:cNvPr id="39" name="Picture 38">
                <a:extLst>
                  <a:ext uri="{FF2B5EF4-FFF2-40B4-BE49-F238E27FC236}">
                    <a16:creationId xmlns:a16="http://schemas.microsoft.com/office/drawing/2014/main" id="{CB44CB72-8849-5D04-964E-90CEE835136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>
              <a:xfrm>
                <a:off x="1733309" y="3947133"/>
                <a:ext cx="334724" cy="350326"/>
              </a:xfrm>
              <a:prstGeom prst="rect">
                <a:avLst/>
              </a:prstGeom>
            </p:spPr>
          </p:pic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9C493F5E-FED8-8FEB-FB15-3A0164F84BEE}"/>
                  </a:ext>
                </a:extLst>
              </p:cNvPr>
              <p:cNvSpPr txBox="1"/>
              <p:nvPr/>
            </p:nvSpPr>
            <p:spPr>
              <a:xfrm flipH="1">
                <a:off x="1384115" y="4390475"/>
                <a:ext cx="1131603" cy="3056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dirty="0">
                    <a:solidFill>
                      <a:srgbClr val="0033A0"/>
                    </a:solidFill>
                    <a:latin typeface="Tw Cen MT" panose="020B0602020104020603" pitchFamily="34" charset="0"/>
                  </a:rPr>
                  <a:t>Auditing Team</a:t>
                </a:r>
              </a:p>
            </p:txBody>
          </p:sp>
          <p:pic>
            <p:nvPicPr>
              <p:cNvPr id="41" name="Picture 40">
                <a:extLst>
                  <a:ext uri="{FF2B5EF4-FFF2-40B4-BE49-F238E27FC236}">
                    <a16:creationId xmlns:a16="http://schemas.microsoft.com/office/drawing/2014/main" id="{B14497A2-B592-ED97-F702-78F7F4266E7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>
              <a:xfrm>
                <a:off x="2840996" y="3947133"/>
                <a:ext cx="334724" cy="350326"/>
              </a:xfrm>
              <a:prstGeom prst="rect">
                <a:avLst/>
              </a:prstGeom>
            </p:spPr>
          </p:pic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F4A6B21C-27B5-4585-73C3-D3241F457872}"/>
                  </a:ext>
                </a:extLst>
              </p:cNvPr>
              <p:cNvSpPr txBox="1"/>
              <p:nvPr/>
            </p:nvSpPr>
            <p:spPr>
              <a:xfrm flipH="1">
                <a:off x="2515636" y="4390475"/>
                <a:ext cx="1010517" cy="50336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dirty="0">
                    <a:solidFill>
                      <a:srgbClr val="0033A0"/>
                    </a:solidFill>
                    <a:latin typeface="Tw Cen MT" panose="020B0602020104020603" pitchFamily="34" charset="0"/>
                  </a:rPr>
                  <a:t>Compliance Team</a:t>
                </a:r>
              </a:p>
            </p:txBody>
          </p:sp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661F3AE3-AB53-4313-1D17-4F2DEA7034AA}"/>
                  </a:ext>
                </a:extLst>
              </p:cNvPr>
              <p:cNvSpPr txBox="1"/>
              <p:nvPr/>
            </p:nvSpPr>
            <p:spPr>
              <a:xfrm>
                <a:off x="2261486" y="1109605"/>
                <a:ext cx="593432" cy="2790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400" b="1" dirty="0">
                    <a:solidFill>
                      <a:srgbClr val="0033A0"/>
                    </a:solidFill>
                    <a:latin typeface="Tw Cen MT" panose="020B0602020104020603" pitchFamily="34" charset="0"/>
                  </a:rPr>
                  <a:t>DGA </a:t>
                </a:r>
              </a:p>
            </p:txBody>
          </p:sp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1BECE55D-939C-C65B-78FE-803F3B404F1F}"/>
                  </a:ext>
                </a:extLst>
              </p:cNvPr>
              <p:cNvSpPr txBox="1"/>
              <p:nvPr/>
            </p:nvSpPr>
            <p:spPr>
              <a:xfrm>
                <a:off x="4607978" y="1118339"/>
                <a:ext cx="1509131" cy="2790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400" b="1" dirty="0">
                    <a:solidFill>
                      <a:srgbClr val="0033A0"/>
                    </a:solidFill>
                    <a:latin typeface="Tw Cen MT" panose="020B0602020104020603" pitchFamily="34" charset="0"/>
                  </a:rPr>
                  <a:t>NOZOM Onshore</a:t>
                </a:r>
              </a:p>
            </p:txBody>
          </p:sp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D5A778A7-154E-C965-DAFD-48F5AF99D901}"/>
                  </a:ext>
                </a:extLst>
              </p:cNvPr>
              <p:cNvSpPr txBox="1"/>
              <p:nvPr/>
            </p:nvSpPr>
            <p:spPr>
              <a:xfrm>
                <a:off x="7350195" y="1143780"/>
                <a:ext cx="1532086" cy="2790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400" b="1" dirty="0">
                    <a:solidFill>
                      <a:srgbClr val="0033A0"/>
                    </a:solidFill>
                    <a:latin typeface="Tw Cen MT" panose="020B0602020104020603" pitchFamily="34" charset="0"/>
                  </a:rPr>
                  <a:t>NOZOM Offshore</a:t>
                </a:r>
              </a:p>
            </p:txBody>
          </p:sp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6797AE47-F595-3886-B859-5EA383B8400C}"/>
                  </a:ext>
                </a:extLst>
              </p:cNvPr>
              <p:cNvSpPr/>
              <p:nvPr/>
            </p:nvSpPr>
            <p:spPr>
              <a:xfrm>
                <a:off x="9610634" y="1495612"/>
                <a:ext cx="2437931" cy="905980"/>
              </a:xfrm>
              <a:prstGeom prst="rect">
                <a:avLst/>
              </a:prstGeom>
              <a:solidFill>
                <a:schemeClr val="accent5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1200" dirty="0">
                    <a:solidFill>
                      <a:schemeClr val="bg1"/>
                    </a:solidFill>
                    <a:latin typeface="Tw Cen MT" panose="020B0602020104020603" pitchFamily="34" charset="0"/>
                  </a:rPr>
                  <a:t>Provide Strategic Direction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1200" dirty="0">
                    <a:solidFill>
                      <a:schemeClr val="bg1"/>
                    </a:solidFill>
                    <a:latin typeface="Tw Cen MT" panose="020B0602020104020603" pitchFamily="34" charset="0"/>
                  </a:rPr>
                  <a:t>Thought Leadership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1200" dirty="0">
                    <a:solidFill>
                      <a:schemeClr val="bg1"/>
                    </a:solidFill>
                    <a:latin typeface="Tw Cen MT" panose="020B0602020104020603" pitchFamily="34" charset="0"/>
                  </a:rPr>
                  <a:t>Risk Management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1200" dirty="0">
                    <a:solidFill>
                      <a:schemeClr val="bg1"/>
                    </a:solidFill>
                    <a:latin typeface="Tw Cen MT" panose="020B0602020104020603" pitchFamily="34" charset="0"/>
                  </a:rPr>
                  <a:t>Program Governance</a:t>
                </a:r>
              </a:p>
            </p:txBody>
          </p:sp>
          <p:sp>
            <p:nvSpPr>
              <p:cNvPr id="47" name="Rounded Rectangle 5">
                <a:extLst>
                  <a:ext uri="{FF2B5EF4-FFF2-40B4-BE49-F238E27FC236}">
                    <a16:creationId xmlns:a16="http://schemas.microsoft.com/office/drawing/2014/main" id="{DD8CFB3E-68C3-43B9-593E-4757AC2368A1}"/>
                  </a:ext>
                </a:extLst>
              </p:cNvPr>
              <p:cNvSpPr/>
              <p:nvPr/>
            </p:nvSpPr>
            <p:spPr>
              <a:xfrm>
                <a:off x="4112154" y="3918900"/>
                <a:ext cx="5229398" cy="675194"/>
              </a:xfrm>
              <a:prstGeom prst="roundRect">
                <a:avLst>
                  <a:gd name="adj" fmla="val 7398"/>
                </a:avLst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pic>
            <p:nvPicPr>
              <p:cNvPr id="48" name="Picture 47">
                <a:extLst>
                  <a:ext uri="{FF2B5EF4-FFF2-40B4-BE49-F238E27FC236}">
                    <a16:creationId xmlns:a16="http://schemas.microsoft.com/office/drawing/2014/main" id="{26A48B92-7E9F-50D3-B5E5-551C5589136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srgbClr val="7BA0FF">
                    <a:shade val="45000"/>
                    <a:satMod val="135000"/>
                  </a:srgb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4502430" y="3959564"/>
                <a:ext cx="276632" cy="289525"/>
              </a:xfrm>
              <a:prstGeom prst="rect">
                <a:avLst/>
              </a:prstGeom>
            </p:spPr>
          </p:pic>
          <p:pic>
            <p:nvPicPr>
              <p:cNvPr id="49" name="Picture 48">
                <a:extLst>
                  <a:ext uri="{FF2B5EF4-FFF2-40B4-BE49-F238E27FC236}">
                    <a16:creationId xmlns:a16="http://schemas.microsoft.com/office/drawing/2014/main" id="{FCE992A3-1F8B-23D9-CF02-16529331C4C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srgbClr val="7BA0FF">
                    <a:shade val="45000"/>
                    <a:satMod val="135000"/>
                  </a:srgb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5306197" y="4101992"/>
                <a:ext cx="276632" cy="289525"/>
              </a:xfrm>
              <a:prstGeom prst="rect">
                <a:avLst/>
              </a:prstGeom>
            </p:spPr>
          </p:pic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A8B7AB76-042E-69E8-7F55-59F0BF8E2615}"/>
                  </a:ext>
                </a:extLst>
              </p:cNvPr>
              <p:cNvSpPr txBox="1"/>
              <p:nvPr/>
            </p:nvSpPr>
            <p:spPr>
              <a:xfrm flipH="1">
                <a:off x="4086009" y="4137782"/>
                <a:ext cx="1105960" cy="50336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dirty="0">
                    <a:solidFill>
                      <a:srgbClr val="0033A0"/>
                    </a:solidFill>
                    <a:latin typeface="Tw Cen MT" panose="020B0602020104020603" pitchFamily="34" charset="0"/>
                  </a:rPr>
                  <a:t>Domain consultants</a:t>
                </a:r>
              </a:p>
            </p:txBody>
          </p:sp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63F54D79-B509-4BF7-E0E3-E7320A296842}"/>
                  </a:ext>
                </a:extLst>
              </p:cNvPr>
              <p:cNvSpPr txBox="1"/>
              <p:nvPr/>
            </p:nvSpPr>
            <p:spPr>
              <a:xfrm flipH="1">
                <a:off x="5054731" y="4308777"/>
                <a:ext cx="814156" cy="3056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dirty="0">
                    <a:solidFill>
                      <a:srgbClr val="0033A0"/>
                    </a:solidFill>
                    <a:latin typeface="Tw Cen MT" panose="020B0602020104020603" pitchFamily="34" charset="0"/>
                  </a:rPr>
                  <a:t>Auditors</a:t>
                </a:r>
              </a:p>
            </p:txBody>
          </p:sp>
          <p:pic>
            <p:nvPicPr>
              <p:cNvPr id="52" name="Picture 51">
                <a:extLst>
                  <a:ext uri="{FF2B5EF4-FFF2-40B4-BE49-F238E27FC236}">
                    <a16:creationId xmlns:a16="http://schemas.microsoft.com/office/drawing/2014/main" id="{4887FC5A-1EE1-50BF-13E9-2FA30439768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srgbClr val="BDCFFF">
                    <a:shade val="45000"/>
                    <a:satMod val="135000"/>
                  </a:srgb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7230678" y="3941809"/>
                <a:ext cx="276632" cy="289525"/>
              </a:xfrm>
              <a:prstGeom prst="rect">
                <a:avLst/>
              </a:prstGeom>
            </p:spPr>
          </p:pic>
          <p:pic>
            <p:nvPicPr>
              <p:cNvPr id="53" name="Picture 52">
                <a:extLst>
                  <a:ext uri="{FF2B5EF4-FFF2-40B4-BE49-F238E27FC236}">
                    <a16:creationId xmlns:a16="http://schemas.microsoft.com/office/drawing/2014/main" id="{C9CC9543-456C-7F77-5B22-711471E2EDB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srgbClr val="BDCFFF">
                    <a:shade val="45000"/>
                    <a:satMod val="135000"/>
                  </a:srgb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8021202" y="4050578"/>
                <a:ext cx="276632" cy="289525"/>
              </a:xfrm>
              <a:prstGeom prst="rect">
                <a:avLst/>
              </a:prstGeom>
            </p:spPr>
          </p:pic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ED197760-F4CB-B4C6-27B4-66F9657E0D58}"/>
                  </a:ext>
                </a:extLst>
              </p:cNvPr>
              <p:cNvSpPr txBox="1"/>
              <p:nvPr/>
            </p:nvSpPr>
            <p:spPr>
              <a:xfrm flipH="1">
                <a:off x="6921578" y="4251806"/>
                <a:ext cx="1083642" cy="3056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dirty="0">
                    <a:solidFill>
                      <a:srgbClr val="0033A0"/>
                    </a:solidFill>
                    <a:latin typeface="Tw Cen MT" panose="020B0602020104020603" pitchFamily="34" charset="0"/>
                  </a:rPr>
                  <a:t>Lead Auditors</a:t>
                </a:r>
              </a:p>
            </p:txBody>
          </p:sp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2BAAD8A2-0FAD-CA23-94E9-834A60AF016C}"/>
                  </a:ext>
                </a:extLst>
              </p:cNvPr>
              <p:cNvSpPr txBox="1"/>
              <p:nvPr/>
            </p:nvSpPr>
            <p:spPr>
              <a:xfrm flipH="1">
                <a:off x="7766086" y="4251806"/>
                <a:ext cx="814156" cy="3056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dirty="0">
                    <a:solidFill>
                      <a:srgbClr val="0033A0"/>
                    </a:solidFill>
                    <a:latin typeface="Tw Cen MT" panose="020B0602020104020603" pitchFamily="34" charset="0"/>
                  </a:rPr>
                  <a:t>Auditors</a:t>
                </a:r>
              </a:p>
            </p:txBody>
          </p:sp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14554C81-AD00-594B-B812-B194912DC708}"/>
                  </a:ext>
                </a:extLst>
              </p:cNvPr>
              <p:cNvSpPr txBox="1"/>
              <p:nvPr/>
            </p:nvSpPr>
            <p:spPr>
              <a:xfrm flipH="1">
                <a:off x="4947610" y="3796180"/>
                <a:ext cx="990152" cy="261610"/>
              </a:xfrm>
              <a:prstGeom prst="rect">
                <a:avLst/>
              </a:prstGeom>
              <a:solidFill>
                <a:schemeClr val="accent1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b="1" dirty="0">
                    <a:solidFill>
                      <a:schemeClr val="bg1"/>
                    </a:solidFill>
                    <a:latin typeface="Tw Cen MT" panose="020B0602020104020603" pitchFamily="34" charset="0"/>
                  </a:rPr>
                  <a:t>CORE TEAM</a:t>
                </a:r>
              </a:p>
            </p:txBody>
          </p:sp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B81FC618-05FF-1367-91EB-913E5B004F23}"/>
                  </a:ext>
                </a:extLst>
              </p:cNvPr>
              <p:cNvSpPr txBox="1"/>
              <p:nvPr/>
            </p:nvSpPr>
            <p:spPr>
              <a:xfrm flipH="1">
                <a:off x="7677435" y="3792527"/>
                <a:ext cx="990152" cy="261610"/>
              </a:xfrm>
              <a:prstGeom prst="rect">
                <a:avLst/>
              </a:prstGeom>
              <a:solidFill>
                <a:schemeClr val="accent1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b="1" dirty="0">
                    <a:solidFill>
                      <a:schemeClr val="bg1"/>
                    </a:solidFill>
                    <a:latin typeface="Tw Cen MT" panose="020B0602020104020603" pitchFamily="34" charset="0"/>
                  </a:rPr>
                  <a:t>FLEX TEAM</a:t>
                </a:r>
              </a:p>
            </p:txBody>
          </p:sp>
          <p:pic>
            <p:nvPicPr>
              <p:cNvPr id="64" name="Picture 63">
                <a:extLst>
                  <a:ext uri="{FF2B5EF4-FFF2-40B4-BE49-F238E27FC236}">
                    <a16:creationId xmlns:a16="http://schemas.microsoft.com/office/drawing/2014/main" id="{F2638C7B-D7FA-0D19-FD23-7B9FD71A2D1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srgbClr val="BDCFFF">
                    <a:shade val="45000"/>
                    <a:satMod val="135000"/>
                  </a:srgb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8758411" y="3922365"/>
                <a:ext cx="276632" cy="289525"/>
              </a:xfrm>
              <a:prstGeom prst="rect">
                <a:avLst/>
              </a:prstGeom>
            </p:spPr>
          </p:pic>
          <p:sp>
            <p:nvSpPr>
              <p:cNvPr id="65" name="TextBox 64">
                <a:extLst>
                  <a:ext uri="{FF2B5EF4-FFF2-40B4-BE49-F238E27FC236}">
                    <a16:creationId xmlns:a16="http://schemas.microsoft.com/office/drawing/2014/main" id="{70B92AD9-08DB-3777-52A8-85ABACEA8E1B}"/>
                  </a:ext>
                </a:extLst>
              </p:cNvPr>
              <p:cNvSpPr txBox="1"/>
              <p:nvPr/>
            </p:nvSpPr>
            <p:spPr>
              <a:xfrm flipH="1">
                <a:off x="8324680" y="4126688"/>
                <a:ext cx="1097509" cy="50336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dirty="0">
                    <a:solidFill>
                      <a:srgbClr val="0033A0"/>
                    </a:solidFill>
                    <a:latin typeface="Tw Cen MT" panose="020B0602020104020603" pitchFamily="34" charset="0"/>
                  </a:rPr>
                  <a:t>Domain Consultants</a:t>
                </a:r>
              </a:p>
            </p:txBody>
          </p:sp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CE9044E9-0DD3-6414-0D46-4B5D3C909BE2}"/>
                  </a:ext>
                </a:extLst>
              </p:cNvPr>
              <p:cNvSpPr/>
              <p:nvPr/>
            </p:nvSpPr>
            <p:spPr>
              <a:xfrm>
                <a:off x="9595713" y="2674746"/>
                <a:ext cx="2437931" cy="905980"/>
              </a:xfrm>
              <a:prstGeom prst="rect">
                <a:avLst/>
              </a:prstGeom>
              <a:solidFill>
                <a:schemeClr val="accent5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1200" dirty="0">
                    <a:solidFill>
                      <a:schemeClr val="bg1"/>
                    </a:solidFill>
                    <a:latin typeface="Tw Cen MT" panose="020B0602020104020603" pitchFamily="34" charset="0"/>
                  </a:rPr>
                  <a:t>SLA and Metrics Management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1200" dirty="0">
                    <a:solidFill>
                      <a:schemeClr val="bg1"/>
                    </a:solidFill>
                    <a:latin typeface="Tw Cen MT" panose="020B0602020104020603" pitchFamily="34" charset="0"/>
                  </a:rPr>
                  <a:t>Resource Management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1200" dirty="0">
                    <a:solidFill>
                      <a:schemeClr val="bg1"/>
                    </a:solidFill>
                    <a:latin typeface="Tw Cen MT" panose="020B0602020104020603" pitchFamily="34" charset="0"/>
                  </a:rPr>
                  <a:t>Audi Governance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1200" dirty="0">
                    <a:solidFill>
                      <a:schemeClr val="bg1"/>
                    </a:solidFill>
                    <a:latin typeface="Tw Cen MT" panose="020B0602020104020603" pitchFamily="34" charset="0"/>
                  </a:rPr>
                  <a:t>Delivery Oversight</a:t>
                </a:r>
              </a:p>
            </p:txBody>
          </p:sp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F5B2D9A7-7F2E-E75F-BA18-C8A60C8481C8}"/>
                  </a:ext>
                </a:extLst>
              </p:cNvPr>
              <p:cNvSpPr/>
              <p:nvPr/>
            </p:nvSpPr>
            <p:spPr>
              <a:xfrm>
                <a:off x="9595712" y="4276920"/>
                <a:ext cx="2437931" cy="905980"/>
              </a:xfrm>
              <a:prstGeom prst="rect">
                <a:avLst/>
              </a:prstGeom>
              <a:solidFill>
                <a:schemeClr val="accent5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1200" dirty="0">
                    <a:solidFill>
                      <a:schemeClr val="bg1"/>
                    </a:solidFill>
                    <a:latin typeface="Tw Cen MT" panose="020B0602020104020603" pitchFamily="34" charset="0"/>
                  </a:rPr>
                  <a:t>Metrics Reporting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1200" dirty="0">
                    <a:solidFill>
                      <a:schemeClr val="bg1"/>
                    </a:solidFill>
                    <a:latin typeface="Tw Cen MT" panose="020B0602020104020603" pitchFamily="34" charset="0"/>
                  </a:rPr>
                  <a:t>Audi Execution and Delivery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1200" dirty="0">
                    <a:solidFill>
                      <a:schemeClr val="bg1"/>
                    </a:solidFill>
                    <a:latin typeface="Tw Cen MT" panose="020B0602020104020603" pitchFamily="34" charset="0"/>
                  </a:rPr>
                  <a:t>Knowledge Management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1200" dirty="0">
                    <a:solidFill>
                      <a:schemeClr val="bg1"/>
                    </a:solidFill>
                    <a:latin typeface="Tw Cen MT" panose="020B0602020104020603" pitchFamily="34" charset="0"/>
                  </a:rPr>
                  <a:t>QA</a:t>
                </a:r>
              </a:p>
            </p:txBody>
          </p:sp>
        </p:grpSp>
        <p:pic>
          <p:nvPicPr>
            <p:cNvPr id="68" name="Picture 67">
              <a:extLst>
                <a:ext uri="{FF2B5EF4-FFF2-40B4-BE49-F238E27FC236}">
                  <a16:creationId xmlns:a16="http://schemas.microsoft.com/office/drawing/2014/main" id="{D8A850E8-74E1-27F9-8604-C0A94CA0F5C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rgbClr val="7BA0FF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>
            <a:xfrm>
              <a:off x="4819966" y="3033639"/>
              <a:ext cx="334724" cy="385359"/>
            </a:xfrm>
            <a:prstGeom prst="rect">
              <a:avLst/>
            </a:prstGeom>
          </p:spPr>
        </p:pic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2A763C92-2C06-CE23-ED01-9FC8FEAB121C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rgbClr val="7BA0FF">
                <a:shade val="45000"/>
                <a:satMod val="135000"/>
              </a:srgbClr>
              <a:prstClr val="white"/>
            </a:duotone>
          </a:blip>
          <a:stretch>
            <a:fillRect/>
          </a:stretch>
        </p:blipFill>
        <p:spPr>
          <a:xfrm>
            <a:off x="6293753" y="4998845"/>
            <a:ext cx="276632" cy="247837"/>
          </a:xfrm>
          <a:prstGeom prst="rect">
            <a:avLst/>
          </a:prstGeom>
        </p:spPr>
      </p:pic>
      <p:sp>
        <p:nvSpPr>
          <p:cNvPr id="71" name="TextBox 70">
            <a:extLst>
              <a:ext uri="{FF2B5EF4-FFF2-40B4-BE49-F238E27FC236}">
                <a16:creationId xmlns:a16="http://schemas.microsoft.com/office/drawing/2014/main" id="{5F3112F1-E037-5343-4B73-29FACF49D582}"/>
              </a:ext>
            </a:extLst>
          </p:cNvPr>
          <p:cNvSpPr txBox="1"/>
          <p:nvPr/>
        </p:nvSpPr>
        <p:spPr>
          <a:xfrm flipH="1">
            <a:off x="5906886" y="5269609"/>
            <a:ext cx="110596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rgbClr val="0033A0"/>
                </a:solidFill>
                <a:latin typeface="Tw Cen MT" panose="020B0602020104020603" pitchFamily="34" charset="0"/>
              </a:rPr>
              <a:t>Lead Auditors</a:t>
            </a:r>
          </a:p>
        </p:txBody>
      </p:sp>
      <p:sp>
        <p:nvSpPr>
          <p:cNvPr id="77" name="Content Placeholder 2">
            <a:extLst>
              <a:ext uri="{FF2B5EF4-FFF2-40B4-BE49-F238E27FC236}">
                <a16:creationId xmlns:a16="http://schemas.microsoft.com/office/drawing/2014/main" id="{4CC20A27-3578-FE09-C744-672754B1BA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2008155"/>
            <a:ext cx="10972799" cy="566904"/>
          </a:xfrm>
        </p:spPr>
        <p:txBody>
          <a:bodyPr/>
          <a:lstStyle/>
          <a:p>
            <a:r>
              <a:rPr lang="en-US" sz="2800" dirty="0">
                <a:latin typeface="El Messiri Medium" panose="00000600000000000000" pitchFamily="2" charset="-78"/>
                <a:cs typeface="El Messiri Medium" panose="00000600000000000000" pitchFamily="2" charset="-78"/>
              </a:rPr>
              <a:t>Manual Auditing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1144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7FAB36-77D7-B8D6-B4CD-326DEC3CAF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5" y="1970842"/>
            <a:ext cx="10972799" cy="4132777"/>
          </a:xfrm>
        </p:spPr>
        <p:txBody>
          <a:bodyPr/>
          <a:lstStyle/>
          <a:p>
            <a:r>
              <a:rPr lang="en-US" sz="2800" dirty="0">
                <a:latin typeface="El Messiri Medium" panose="00000600000000000000" pitchFamily="2" charset="-78"/>
                <a:cs typeface="El Messiri Medium" panose="00000600000000000000" pitchFamily="2" charset="-78"/>
              </a:rPr>
              <a:t>Automated Auditing</a:t>
            </a:r>
          </a:p>
          <a:p>
            <a:pPr marL="342900" indent="-342900" algn="l">
              <a:buFont typeface="Wingdings" pitchFamily="2" charset="2"/>
              <a:buChar char="ü"/>
            </a:pPr>
            <a:r>
              <a:rPr lang="en-US" dirty="0">
                <a:latin typeface="El Messiri" pitchFamily="2" charset="-78"/>
                <a:cs typeface="El Messiri" pitchFamily="2" charset="-78"/>
              </a:rPr>
              <a:t>Streamline the auditing process by eliminating manual intervention and human errors.</a:t>
            </a:r>
          </a:p>
          <a:p>
            <a:pPr marL="342900" indent="-342900" algn="l">
              <a:buFont typeface="Wingdings" pitchFamily="2" charset="2"/>
              <a:buChar char="ü"/>
            </a:pPr>
            <a:r>
              <a:rPr lang="en-US" dirty="0">
                <a:latin typeface="El Messiri" pitchFamily="2" charset="-78"/>
                <a:cs typeface="El Messiri" pitchFamily="2" charset="-78"/>
              </a:rPr>
              <a:t>Improve accuracy and consistency in auditing activities.</a:t>
            </a:r>
          </a:p>
          <a:p>
            <a:pPr marL="342900" indent="-342900" algn="l">
              <a:buFont typeface="Wingdings" pitchFamily="2" charset="2"/>
              <a:buChar char="ü"/>
            </a:pPr>
            <a:r>
              <a:rPr lang="en-US" dirty="0">
                <a:latin typeface="El Messiri" pitchFamily="2" charset="-78"/>
                <a:cs typeface="El Messiri" pitchFamily="2" charset="-78"/>
              </a:rPr>
              <a:t>Enhance overall productivity and resource allocation.</a:t>
            </a:r>
          </a:p>
          <a:p>
            <a:pPr marL="342900" indent="-342900">
              <a:buFont typeface="Wingdings" pitchFamily="2" charset="2"/>
              <a:buChar char="ü"/>
            </a:pPr>
            <a:r>
              <a:rPr lang="en-US" dirty="0">
                <a:latin typeface="El Messiri" pitchFamily="2" charset="-78"/>
                <a:cs typeface="El Messiri" pitchFamily="2" charset="-78"/>
              </a:rPr>
              <a:t>Efficiently check the existence of deliverables and validate their content type or document template.</a:t>
            </a:r>
          </a:p>
          <a:p>
            <a:pPr marL="342900" indent="-342900" algn="l">
              <a:buFont typeface="Wingdings" pitchFamily="2" charset="2"/>
              <a:buChar char="ü"/>
            </a:pPr>
            <a:endParaRPr lang="en-US" dirty="0">
              <a:latin typeface="El Messiri" pitchFamily="2" charset="-78"/>
              <a:cs typeface="El Messiri" pitchFamily="2" charset="-78"/>
            </a:endParaRPr>
          </a:p>
          <a:p>
            <a:pPr marL="342900" indent="-342900" algn="l">
              <a:buFont typeface="Wingdings" pitchFamily="2" charset="2"/>
              <a:buChar char="ü"/>
            </a:pPr>
            <a:endParaRPr lang="en-US" dirty="0">
              <a:latin typeface="El Messiri" pitchFamily="2" charset="-78"/>
              <a:cs typeface="El Messiri" pitchFamily="2" charset="-78"/>
            </a:endParaRP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DFA209-B1DB-CAE4-AE3E-DF4EA90702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ZOM’s Auditing Service Types</a:t>
            </a:r>
          </a:p>
        </p:txBody>
      </p:sp>
    </p:spTree>
    <p:extLst>
      <p:ext uri="{BB962C8B-B14F-4D97-AF65-F5344CB8AC3E}">
        <p14:creationId xmlns:p14="http://schemas.microsoft.com/office/powerpoint/2010/main" val="113220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7FAB36-77D7-B8D6-B4CD-326DEC3CAF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5" y="1970842"/>
            <a:ext cx="10972799" cy="4132777"/>
          </a:xfrm>
        </p:spPr>
        <p:txBody>
          <a:bodyPr/>
          <a:lstStyle/>
          <a:p>
            <a:r>
              <a:rPr lang="en-US" sz="2800" dirty="0">
                <a:latin typeface="El Messiri Medium" panose="00000600000000000000" pitchFamily="2" charset="-78"/>
                <a:cs typeface="El Messiri Medium" panose="00000600000000000000" pitchFamily="2" charset="-78"/>
              </a:rPr>
              <a:t>Automated Auditing</a:t>
            </a:r>
          </a:p>
          <a:p>
            <a:pPr marL="342900" indent="-342900" algn="l">
              <a:buFont typeface="Wingdings" pitchFamily="2" charset="2"/>
              <a:buChar char="ü"/>
            </a:pPr>
            <a:r>
              <a:rPr lang="en-US" dirty="0">
                <a:latin typeface="El Messiri" pitchFamily="2" charset="-78"/>
                <a:cs typeface="El Messiri" pitchFamily="2" charset="-78"/>
              </a:rPr>
              <a:t>Streamline the auditing process by eliminating manual intervention and human errors.</a:t>
            </a:r>
          </a:p>
          <a:p>
            <a:pPr marL="342900" indent="-342900" algn="l">
              <a:buFont typeface="Wingdings" pitchFamily="2" charset="2"/>
              <a:buChar char="ü"/>
            </a:pPr>
            <a:r>
              <a:rPr lang="en-US" dirty="0">
                <a:latin typeface="El Messiri" pitchFamily="2" charset="-78"/>
                <a:cs typeface="El Messiri" pitchFamily="2" charset="-78"/>
              </a:rPr>
              <a:t>Improve accuracy and consistency in auditing activities.</a:t>
            </a:r>
          </a:p>
          <a:p>
            <a:pPr marL="342900" indent="-342900" algn="l">
              <a:buFont typeface="Wingdings" pitchFamily="2" charset="2"/>
              <a:buChar char="ü"/>
            </a:pPr>
            <a:r>
              <a:rPr lang="en-US" dirty="0">
                <a:latin typeface="El Messiri" pitchFamily="2" charset="-78"/>
                <a:cs typeface="El Messiri" pitchFamily="2" charset="-78"/>
              </a:rPr>
              <a:t>Enhance overall productivity and resource allocation.</a:t>
            </a:r>
          </a:p>
          <a:p>
            <a:pPr marL="342900" indent="-342900">
              <a:buFont typeface="Wingdings" pitchFamily="2" charset="2"/>
              <a:buChar char="ü"/>
            </a:pPr>
            <a:r>
              <a:rPr lang="en-US" dirty="0">
                <a:latin typeface="El Messiri" pitchFamily="2" charset="-78"/>
                <a:cs typeface="El Messiri" pitchFamily="2" charset="-78"/>
              </a:rPr>
              <a:t>Efficiently check the existence of deliverables and validate their content type or document template.</a:t>
            </a:r>
          </a:p>
          <a:p>
            <a:pPr marL="342900" indent="-342900" algn="l">
              <a:buFont typeface="Wingdings" pitchFamily="2" charset="2"/>
              <a:buChar char="ü"/>
            </a:pPr>
            <a:endParaRPr lang="en-US" dirty="0">
              <a:latin typeface="El Messiri" pitchFamily="2" charset="-78"/>
              <a:cs typeface="El Messiri" pitchFamily="2" charset="-78"/>
            </a:endParaRPr>
          </a:p>
          <a:p>
            <a:pPr marL="342900" indent="-342900" algn="l">
              <a:buFont typeface="Wingdings" pitchFamily="2" charset="2"/>
              <a:buChar char="ü"/>
            </a:pPr>
            <a:endParaRPr lang="en-US" dirty="0">
              <a:latin typeface="El Messiri" pitchFamily="2" charset="-78"/>
              <a:cs typeface="El Messiri" pitchFamily="2" charset="-78"/>
            </a:endParaRP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DFA209-B1DB-CAE4-AE3E-DF4EA90702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ZOM’s Auditing Service Types</a:t>
            </a:r>
          </a:p>
        </p:txBody>
      </p:sp>
    </p:spTree>
    <p:extLst>
      <p:ext uri="{BB962C8B-B14F-4D97-AF65-F5344CB8AC3E}">
        <p14:creationId xmlns:p14="http://schemas.microsoft.com/office/powerpoint/2010/main" val="2323002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2C97119-43A5-D1A7-87B4-BC6D498CD6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60837" y="2548121"/>
            <a:ext cx="2679517" cy="3061780"/>
          </a:xfrm>
        </p:spPr>
        <p:txBody>
          <a:bodyPr/>
          <a:lstStyle/>
          <a:p>
            <a:pPr algn="ctr"/>
            <a:endParaRPr lang="en-US" sz="3600" dirty="0">
              <a:latin typeface="El Messiri Medium" panose="00000600000000000000" pitchFamily="2" charset="-78"/>
              <a:cs typeface="El Messiri Medium" panose="00000600000000000000" pitchFamily="2" charset="-78"/>
            </a:endParaRPr>
          </a:p>
          <a:p>
            <a:pPr algn="ctr"/>
            <a:r>
              <a:rPr lang="en-US" sz="3600" dirty="0">
                <a:latin typeface="El Messiri Medium" panose="00000600000000000000" pitchFamily="2" charset="-78"/>
                <a:cs typeface="El Messiri Medium" panose="00000600000000000000" pitchFamily="2" charset="-78"/>
              </a:rPr>
              <a:t>Automated Auditing Components</a:t>
            </a:r>
          </a:p>
          <a:p>
            <a:pPr algn="ctr">
              <a:lnSpc>
                <a:spcPct val="150000"/>
              </a:lnSpc>
            </a:pPr>
            <a:endParaRPr lang="en-US" sz="3600" dirty="0">
              <a:latin typeface="El Messiri Medium" panose="00000600000000000000" pitchFamily="2" charset="-78"/>
              <a:cs typeface="El Messiri Medium" panose="00000600000000000000" pitchFamily="2" charset="-78"/>
            </a:endParaRPr>
          </a:p>
          <a:p>
            <a:pPr algn="ctr"/>
            <a:endParaRPr lang="en-US" sz="32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649F9E9-A699-A368-E911-9BA7476EC5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ZOM’s Auditing Service Typ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A1907C1-F2FE-356D-657B-ED78584D6E9F}"/>
              </a:ext>
            </a:extLst>
          </p:cNvPr>
          <p:cNvGrpSpPr/>
          <p:nvPr/>
        </p:nvGrpSpPr>
        <p:grpSpPr>
          <a:xfrm>
            <a:off x="3814538" y="1732007"/>
            <a:ext cx="7243606" cy="4776823"/>
            <a:chOff x="3485529" y="188290"/>
            <a:chExt cx="5610205" cy="6473767"/>
          </a:xfrm>
        </p:grpSpPr>
        <p:sp>
          <p:nvSpPr>
            <p:cNvPr id="3" name="Rectangle: Rounded Corners 9">
              <a:extLst>
                <a:ext uri="{FF2B5EF4-FFF2-40B4-BE49-F238E27FC236}">
                  <a16:creationId xmlns:a16="http://schemas.microsoft.com/office/drawing/2014/main" id="{363F23F9-52C1-1369-C330-3AFB3EE13D97}"/>
                </a:ext>
              </a:extLst>
            </p:cNvPr>
            <p:cNvSpPr/>
            <p:nvPr/>
          </p:nvSpPr>
          <p:spPr>
            <a:xfrm>
              <a:off x="3485529" y="188290"/>
              <a:ext cx="5610205" cy="2016030"/>
            </a:xfrm>
            <a:prstGeom prst="round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400" dirty="0">
                  <a:solidFill>
                    <a:srgbClr val="FFFFFF"/>
                  </a:solidFill>
                  <a:latin typeface="Roboto Condensed Light" panose="02000000000000000000" pitchFamily="2" charset="0"/>
                  <a:ea typeface="Roboto Condensed Light" panose="02000000000000000000" pitchFamily="2" charset="0"/>
                </a:rPr>
                <a:t>Self-Service Assessor</a:t>
              </a:r>
              <a:endParaRPr kumimoji="0" lang="en-CA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Condensed Light" panose="02000000000000000000" pitchFamily="2" charset="0"/>
                <a:ea typeface="Roboto Condensed Light" panose="02000000000000000000" pitchFamily="2" charset="0"/>
              </a:endParaRPr>
            </a:p>
          </p:txBody>
        </p:sp>
        <p:graphicFrame>
          <p:nvGraphicFramePr>
            <p:cNvPr id="6" name="Diagram 5">
              <a:extLst>
                <a:ext uri="{FF2B5EF4-FFF2-40B4-BE49-F238E27FC236}">
                  <a16:creationId xmlns:a16="http://schemas.microsoft.com/office/drawing/2014/main" id="{14B08525-40B0-8D84-C41F-F8E1A3EBC329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771485487"/>
                </p:ext>
              </p:extLst>
            </p:nvPr>
          </p:nvGraphicFramePr>
          <p:xfrm>
            <a:off x="3531252" y="974518"/>
            <a:ext cx="5460612" cy="427756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sp>
          <p:nvSpPr>
            <p:cNvPr id="8" name="Rectangle: Rounded Corners 12">
              <a:extLst>
                <a:ext uri="{FF2B5EF4-FFF2-40B4-BE49-F238E27FC236}">
                  <a16:creationId xmlns:a16="http://schemas.microsoft.com/office/drawing/2014/main" id="{1BEEA22F-B3C1-B03F-974C-D566B1C31529}"/>
                </a:ext>
              </a:extLst>
            </p:cNvPr>
            <p:cNvSpPr/>
            <p:nvPr/>
          </p:nvSpPr>
          <p:spPr>
            <a:xfrm>
              <a:off x="3503690" y="5293537"/>
              <a:ext cx="5582051" cy="1368520"/>
            </a:xfrm>
            <a:prstGeom prst="round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000" dirty="0">
                  <a:solidFill>
                    <a:srgbClr val="FFFFFF"/>
                  </a:solidFill>
                  <a:latin typeface="Roboto Condensed Light" panose="02000000000000000000" pitchFamily="2" charset="0"/>
                  <a:ea typeface="Roboto Condensed Light" panose="02000000000000000000" pitchFamily="2" charset="0"/>
                </a:rPr>
                <a:t>Repos , Analytic and Search Engine</a:t>
              </a:r>
              <a:endParaRPr kumimoji="0" lang="en-CA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Condensed Light" panose="02000000000000000000" pitchFamily="2" charset="0"/>
                <a:ea typeface="Roboto Condensed Light" panose="02000000000000000000" pitchFamily="2" charset="0"/>
              </a:endParaRPr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381CE644-21B4-A2B2-5B1A-F80F026D51E3}"/>
                </a:ext>
              </a:extLst>
            </p:cNvPr>
            <p:cNvGrpSpPr/>
            <p:nvPr/>
          </p:nvGrpSpPr>
          <p:grpSpPr>
            <a:xfrm>
              <a:off x="3688461" y="5591854"/>
              <a:ext cx="874165" cy="952971"/>
              <a:chOff x="1679568" y="2984333"/>
              <a:chExt cx="874165" cy="952971"/>
            </a:xfrm>
            <a:solidFill>
              <a:schemeClr val="bg1"/>
            </a:solidFill>
          </p:grpSpPr>
          <p:pic>
            <p:nvPicPr>
              <p:cNvPr id="28" name="Picture 27">
                <a:extLst>
                  <a:ext uri="{FF2B5EF4-FFF2-40B4-BE49-F238E27FC236}">
                    <a16:creationId xmlns:a16="http://schemas.microsoft.com/office/drawing/2014/main" id="{185E577B-D142-E365-0538-2FB60D9C19C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148520" y="3313896"/>
                <a:ext cx="405213" cy="623408"/>
              </a:xfrm>
              <a:prstGeom prst="rect">
                <a:avLst/>
              </a:prstGeom>
              <a:grpFill/>
            </p:spPr>
          </p:pic>
          <p:sp>
            <p:nvSpPr>
              <p:cNvPr id="29" name="Flowchart: Magnetic Disk 36">
                <a:extLst>
                  <a:ext uri="{FF2B5EF4-FFF2-40B4-BE49-F238E27FC236}">
                    <a16:creationId xmlns:a16="http://schemas.microsoft.com/office/drawing/2014/main" id="{F25CF81A-7F28-648A-D316-E97C4EB8DE56}"/>
                  </a:ext>
                </a:extLst>
              </p:cNvPr>
              <p:cNvSpPr/>
              <p:nvPr/>
            </p:nvSpPr>
            <p:spPr>
              <a:xfrm>
                <a:off x="1679568" y="2984333"/>
                <a:ext cx="468952" cy="922066"/>
              </a:xfrm>
              <a:prstGeom prst="flowChartMagneticDisk">
                <a:avLst/>
              </a:prstGeom>
              <a:grpFill/>
              <a:ln w="25400" cap="flat" cmpd="sng" algn="ctr">
                <a:solidFill>
                  <a:srgbClr val="29475F">
                    <a:shade val="50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A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 Condensed Light" panose="02000000000000000000" pitchFamily="2" charset="0"/>
                  <a:ea typeface="Roboto Condensed Light" panose="02000000000000000000" pitchFamily="2" charset="0"/>
                </a:endParaRPr>
              </a:p>
            </p:txBody>
          </p:sp>
        </p:grpSp>
        <p:sp>
          <p:nvSpPr>
            <p:cNvPr id="16" name="Rectangle: Rounded Corners 21">
              <a:extLst>
                <a:ext uri="{FF2B5EF4-FFF2-40B4-BE49-F238E27FC236}">
                  <a16:creationId xmlns:a16="http://schemas.microsoft.com/office/drawing/2014/main" id="{0CA4C5B4-3F5C-3297-01AC-3BD0C4AF6FE7}"/>
                </a:ext>
              </a:extLst>
            </p:cNvPr>
            <p:cNvSpPr/>
            <p:nvPr/>
          </p:nvSpPr>
          <p:spPr>
            <a:xfrm>
              <a:off x="3485531" y="2282816"/>
              <a:ext cx="5610203" cy="1485308"/>
            </a:xfrm>
            <a:prstGeom prst="round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 Condensed Light" panose="02000000000000000000" pitchFamily="2" charset="0"/>
                  <a:ea typeface="Roboto Condensed Light" panose="02000000000000000000" pitchFamily="2" charset="0"/>
                </a:rPr>
                <a:t>Workflow Engine</a:t>
              </a:r>
              <a:endParaRPr kumimoji="0" lang="en-CA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Condensed Light" panose="02000000000000000000" pitchFamily="2" charset="0"/>
                <a:ea typeface="Roboto Condensed Light" panose="02000000000000000000" pitchFamily="2" charset="0"/>
              </a:endParaRPr>
            </a:p>
          </p:txBody>
        </p:sp>
      </p:grpSp>
      <p:graphicFrame>
        <p:nvGraphicFramePr>
          <p:cNvPr id="30" name="Diagram 29">
            <a:extLst>
              <a:ext uri="{FF2B5EF4-FFF2-40B4-BE49-F238E27FC236}">
                <a16:creationId xmlns:a16="http://schemas.microsoft.com/office/drawing/2014/main" id="{6469EA41-259C-5820-D951-F3F92284633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49995959"/>
              </p:ext>
            </p:extLst>
          </p:nvPr>
        </p:nvGraphicFramePr>
        <p:xfrm>
          <a:off x="3815368" y="3924995"/>
          <a:ext cx="7108663" cy="3080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graphicFrame>
        <p:nvGraphicFramePr>
          <p:cNvPr id="27" name="Diagram 26">
            <a:extLst>
              <a:ext uri="{FF2B5EF4-FFF2-40B4-BE49-F238E27FC236}">
                <a16:creationId xmlns:a16="http://schemas.microsoft.com/office/drawing/2014/main" id="{FA4D516E-5C69-E5E9-5A12-92EE1E24B5F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74942193"/>
              </p:ext>
            </p:extLst>
          </p:nvPr>
        </p:nvGraphicFramePr>
        <p:xfrm>
          <a:off x="3880688" y="2733806"/>
          <a:ext cx="7043343" cy="3080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4" r:lo="rId15" r:qs="rId16" r:cs="rId17"/>
          </a:graphicData>
        </a:graphic>
      </p:graphicFrame>
      <p:sp>
        <p:nvSpPr>
          <p:cNvPr id="31" name="Rectangle: Rounded Corners 9">
            <a:extLst>
              <a:ext uri="{FF2B5EF4-FFF2-40B4-BE49-F238E27FC236}">
                <a16:creationId xmlns:a16="http://schemas.microsoft.com/office/drawing/2014/main" id="{AC721C4D-46AA-387B-FB30-4D6374EE560E}"/>
              </a:ext>
            </a:extLst>
          </p:cNvPr>
          <p:cNvSpPr/>
          <p:nvPr/>
        </p:nvSpPr>
        <p:spPr>
          <a:xfrm>
            <a:off x="3850889" y="4453370"/>
            <a:ext cx="7207255" cy="965768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>
                <a:solidFill>
                  <a:srgbClr val="FFFFFF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rPr>
              <a:t>IDP Engine</a:t>
            </a:r>
            <a:endParaRPr kumimoji="0" lang="en-CA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Condensed Light" panose="02000000000000000000" pitchFamily="2" charset="0"/>
              <a:ea typeface="Roboto Condensed Light" panose="02000000000000000000" pitchFamily="2" charset="0"/>
            </a:endParaRPr>
          </a:p>
        </p:txBody>
      </p:sp>
      <p:graphicFrame>
        <p:nvGraphicFramePr>
          <p:cNvPr id="32" name="Diagram 31">
            <a:extLst>
              <a:ext uri="{FF2B5EF4-FFF2-40B4-BE49-F238E27FC236}">
                <a16:creationId xmlns:a16="http://schemas.microsoft.com/office/drawing/2014/main" id="{4B877E42-7320-0921-763C-FD9CAE8715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90874241"/>
              </p:ext>
            </p:extLst>
          </p:nvPr>
        </p:nvGraphicFramePr>
        <p:xfrm>
          <a:off x="3888069" y="4952655"/>
          <a:ext cx="7035962" cy="3080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9" r:lo="rId20" r:qs="rId21" r:cs="rId22"/>
          </a:graphicData>
        </a:graphic>
      </p:graphicFrame>
      <p:pic>
        <p:nvPicPr>
          <p:cNvPr id="34" name="Graphic 33" descr="Document with solid fill">
            <a:extLst>
              <a:ext uri="{FF2B5EF4-FFF2-40B4-BE49-F238E27FC236}">
                <a16:creationId xmlns:a16="http://schemas.microsoft.com/office/drawing/2014/main" id="{FF07CEF8-B734-06C8-4D33-209D0EF0DAA9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0130973" y="5711023"/>
            <a:ext cx="793058" cy="768928"/>
          </a:xfrm>
          <a:prstGeom prst="rect">
            <a:avLst/>
          </a:prstGeom>
        </p:spPr>
      </p:pic>
      <p:pic>
        <p:nvPicPr>
          <p:cNvPr id="36" name="Graphic 35" descr="Checklist with solid fill">
            <a:extLst>
              <a:ext uri="{FF2B5EF4-FFF2-40B4-BE49-F238E27FC236}">
                <a16:creationId xmlns:a16="http://schemas.microsoft.com/office/drawing/2014/main" id="{7D653CB1-E4F1-6F0F-58B3-698E41D16A42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9605557" y="5859731"/>
            <a:ext cx="793058" cy="620220"/>
          </a:xfrm>
          <a:prstGeom prst="rect">
            <a:avLst/>
          </a:prstGeom>
        </p:spPr>
      </p:pic>
      <p:pic>
        <p:nvPicPr>
          <p:cNvPr id="38" name="Graphic 37" descr="Search Inventory outline">
            <a:extLst>
              <a:ext uri="{FF2B5EF4-FFF2-40B4-BE49-F238E27FC236}">
                <a16:creationId xmlns:a16="http://schemas.microsoft.com/office/drawing/2014/main" id="{F4CA17ED-B63F-B6F1-0E21-02C8C04462AD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6896141" y="5864303"/>
            <a:ext cx="914400" cy="620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107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7FAB36-77D7-B8D6-B4CD-326DEC3CAF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5" y="1970842"/>
            <a:ext cx="10972799" cy="4132777"/>
          </a:xfrm>
        </p:spPr>
        <p:txBody>
          <a:bodyPr/>
          <a:lstStyle/>
          <a:p>
            <a:r>
              <a:rPr lang="en-US" sz="2800" dirty="0">
                <a:latin typeface="El Messiri Medium" panose="00000600000000000000" pitchFamily="2" charset="-78"/>
                <a:cs typeface="El Messiri Medium" panose="00000600000000000000" pitchFamily="2" charset="-78"/>
              </a:rPr>
              <a:t>Automated Auditing, Self-service Portal (DGA Assessor)</a:t>
            </a:r>
          </a:p>
          <a:p>
            <a:pPr marL="342900" indent="-342900" algn="l">
              <a:buFont typeface="Wingdings" pitchFamily="2" charset="2"/>
              <a:buChar char="ü"/>
            </a:pPr>
            <a:r>
              <a:rPr lang="en-US" sz="1600" b="0" i="0" dirty="0">
                <a:solidFill>
                  <a:srgbClr val="000000"/>
                </a:solidFill>
                <a:effectLst/>
                <a:latin typeface="-apple-system"/>
              </a:rPr>
              <a:t>De</a:t>
            </a:r>
            <a:r>
              <a:rPr lang="en-US" sz="1600" b="0" i="0" dirty="0">
                <a:solidFill>
                  <a:srgbClr val="000000"/>
                </a:solidFill>
                <a:effectLst/>
                <a:latin typeface="El Messiri Medium" pitchFamily="2" charset="-78"/>
                <a:cs typeface="El Messiri Medium" pitchFamily="2" charset="-78"/>
              </a:rPr>
              <a:t>velop a user-friendly self-service platform that allows entities to submit their work or deliverables for assessment and review.</a:t>
            </a:r>
          </a:p>
          <a:p>
            <a:pPr marL="342900" indent="-342900" algn="l">
              <a:buFont typeface="Wingdings" pitchFamily="2" charset="2"/>
              <a:buChar char="ü"/>
            </a:pPr>
            <a:r>
              <a:rPr lang="en-US" sz="1600" b="0" i="0" dirty="0">
                <a:solidFill>
                  <a:srgbClr val="000000"/>
                </a:solidFill>
                <a:effectLst/>
                <a:latin typeface="El Messiri Medium" pitchFamily="2" charset="-78"/>
                <a:cs typeface="El Messiri Medium" pitchFamily="2" charset="-78"/>
              </a:rPr>
              <a:t>The platform should provide clear guidelines and templates based on the NORA standard, ensuring that entities submit the required information in the correct format.</a:t>
            </a:r>
          </a:p>
          <a:p>
            <a:pPr marL="342900" indent="-342900" algn="l">
              <a:buFont typeface="Wingdings" pitchFamily="2" charset="2"/>
              <a:buChar char="ü"/>
            </a:pPr>
            <a:r>
              <a:rPr lang="en-US" sz="1600" b="0" i="0" dirty="0">
                <a:solidFill>
                  <a:srgbClr val="000000"/>
                </a:solidFill>
                <a:effectLst/>
                <a:latin typeface="El Messiri Medium" pitchFamily="2" charset="-78"/>
                <a:cs typeface="El Messiri Medium" pitchFamily="2" charset="-78"/>
              </a:rPr>
              <a:t>Incorporate an AI-powered feedback mechanism that provides real-time suggestions and recommendations to improve the quality and compliance of the submitted deliverables.</a:t>
            </a:r>
          </a:p>
          <a:p>
            <a:pPr marL="342900" indent="-342900" algn="l">
              <a:buFont typeface="Wingdings" pitchFamily="2" charset="2"/>
              <a:buChar char="ü"/>
            </a:pPr>
            <a:r>
              <a:rPr lang="en-US" sz="1600" b="0" i="0" dirty="0">
                <a:solidFill>
                  <a:srgbClr val="000000"/>
                </a:solidFill>
                <a:effectLst/>
                <a:latin typeface="El Messiri Medium" pitchFamily="2" charset="-78"/>
                <a:cs typeface="El Messiri Medium" pitchFamily="2" charset="-78"/>
              </a:rPr>
              <a:t>Enable automated validation and checks based on predefined rules to ensure conformity with the NORA standard, reducing manual intervention and review time.</a:t>
            </a:r>
          </a:p>
          <a:p>
            <a:pPr marL="342900" indent="-342900" algn="l">
              <a:buFont typeface="Wingdings" pitchFamily="2" charset="2"/>
              <a:buChar char="ü"/>
            </a:pPr>
            <a:r>
              <a:rPr lang="en-US" sz="1600" b="0" i="0" dirty="0">
                <a:solidFill>
                  <a:srgbClr val="000000"/>
                </a:solidFill>
                <a:effectLst/>
                <a:latin typeface="El Messiri Medium" pitchFamily="2" charset="-78"/>
                <a:cs typeface="El Messiri Medium" pitchFamily="2" charset="-78"/>
              </a:rPr>
              <a:t>Integrate a dashboard that gives entities visibility into the status of their submitted deliverables, progress of the review process, and any necessary actions or revisions required.</a:t>
            </a:r>
          </a:p>
          <a:p>
            <a:pPr marL="342900" indent="-342900" algn="l">
              <a:buFont typeface="Wingdings" pitchFamily="2" charset="2"/>
              <a:buChar char="ü"/>
            </a:pPr>
            <a:endParaRPr lang="en-US" dirty="0">
              <a:latin typeface="El Messiri" pitchFamily="2" charset="-78"/>
              <a:cs typeface="El Messiri" pitchFamily="2" charset="-78"/>
            </a:endParaRPr>
          </a:p>
          <a:p>
            <a:pPr marL="342900" indent="-342900" algn="l">
              <a:buFont typeface="Wingdings" pitchFamily="2" charset="2"/>
              <a:buChar char="ü"/>
            </a:pPr>
            <a:endParaRPr lang="en-US" dirty="0">
              <a:latin typeface="El Messiri" pitchFamily="2" charset="-78"/>
              <a:cs typeface="El Messiri" pitchFamily="2" charset="-78"/>
            </a:endParaRP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DFA209-B1DB-CAE4-AE3E-DF4EA90702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ZOM’s Auditing Service Types</a:t>
            </a:r>
          </a:p>
        </p:txBody>
      </p:sp>
    </p:spTree>
    <p:extLst>
      <p:ext uri="{BB962C8B-B14F-4D97-AF65-F5344CB8AC3E}">
        <p14:creationId xmlns:p14="http://schemas.microsoft.com/office/powerpoint/2010/main" val="1228873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7FAB36-77D7-B8D6-B4CD-326DEC3CAF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5" y="1970842"/>
            <a:ext cx="10972799" cy="4132777"/>
          </a:xfrm>
        </p:spPr>
        <p:txBody>
          <a:bodyPr/>
          <a:lstStyle/>
          <a:p>
            <a:r>
              <a:rPr lang="en-US" sz="2800" dirty="0">
                <a:latin typeface="El Messiri Medium" panose="00000600000000000000" pitchFamily="2" charset="-78"/>
                <a:cs typeface="El Messiri Medium" panose="00000600000000000000" pitchFamily="2" charset="-78"/>
              </a:rPr>
              <a:t>Automated Auditing, Intelligent Document Processor (IDP)</a:t>
            </a:r>
          </a:p>
          <a:p>
            <a:pPr marL="342900" indent="-342900">
              <a:buFont typeface="Wingdings" pitchFamily="2" charset="2"/>
              <a:buChar char="ü"/>
            </a:pPr>
            <a:r>
              <a:rPr lang="en-US" sz="1800" dirty="0">
                <a:solidFill>
                  <a:srgbClr val="000000"/>
                </a:solidFill>
                <a:latin typeface="-apple-system"/>
              </a:rPr>
              <a:t>Implement an Intelligent Document Processing (IDP) system that utilizes AI and machine learning algorithms to extract and analyze data from various types of documents - enterprise architecture deliverables.</a:t>
            </a:r>
          </a:p>
          <a:p>
            <a:pPr marL="342900" indent="-342900">
              <a:buFont typeface="Wingdings" pitchFamily="2" charset="2"/>
              <a:buChar char="ü"/>
            </a:pPr>
            <a:r>
              <a:rPr lang="en-US" sz="1800" dirty="0">
                <a:solidFill>
                  <a:srgbClr val="000000"/>
                </a:solidFill>
                <a:latin typeface="-apple-system"/>
              </a:rPr>
              <a:t>Train the AI models with the NORA standard and specific requirements to ensure accurate and reliable document processing.</a:t>
            </a:r>
          </a:p>
          <a:p>
            <a:pPr marL="342900" indent="-342900">
              <a:buFont typeface="Wingdings" pitchFamily="2" charset="2"/>
              <a:buChar char="ü"/>
            </a:pPr>
            <a:r>
              <a:rPr lang="en-US" sz="1800" dirty="0">
                <a:solidFill>
                  <a:srgbClr val="000000"/>
                </a:solidFill>
                <a:latin typeface="-apple-system"/>
              </a:rPr>
              <a:t>The IDP system should be capable of parsing and understanding the content of the documents, checking for the existence of required deliverables, and validating their content type or document template.</a:t>
            </a:r>
          </a:p>
          <a:p>
            <a:pPr marL="342900" indent="-342900">
              <a:buFont typeface="Wingdings" pitchFamily="2" charset="2"/>
              <a:buChar char="ü"/>
            </a:pPr>
            <a:r>
              <a:rPr lang="en-US" sz="1800" dirty="0">
                <a:solidFill>
                  <a:srgbClr val="000000"/>
                </a:solidFill>
                <a:latin typeface="-apple-system"/>
              </a:rPr>
              <a:t>Extracted data can be stored in a structured format for further analysis and auditing purposes.</a:t>
            </a:r>
          </a:p>
          <a:p>
            <a:pPr marL="342900" indent="-342900" algn="l">
              <a:buFont typeface="Wingdings" pitchFamily="2" charset="2"/>
              <a:buChar char="ü"/>
            </a:pPr>
            <a:endParaRPr lang="en-US" dirty="0">
              <a:latin typeface="El Messiri" pitchFamily="2" charset="-78"/>
              <a:cs typeface="El Messiri" pitchFamily="2" charset="-78"/>
            </a:endParaRPr>
          </a:p>
          <a:p>
            <a:pPr marL="342900" indent="-342900" algn="l">
              <a:buFont typeface="Wingdings" pitchFamily="2" charset="2"/>
              <a:buChar char="ü"/>
            </a:pPr>
            <a:endParaRPr lang="en-US" dirty="0">
              <a:latin typeface="El Messiri" pitchFamily="2" charset="-78"/>
              <a:cs typeface="El Messiri" pitchFamily="2" charset="-78"/>
            </a:endParaRP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DFA209-B1DB-CAE4-AE3E-DF4EA90702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ZOM’s Auditing Service Types</a:t>
            </a:r>
          </a:p>
        </p:txBody>
      </p:sp>
    </p:spTree>
    <p:extLst>
      <p:ext uri="{BB962C8B-B14F-4D97-AF65-F5344CB8AC3E}">
        <p14:creationId xmlns:p14="http://schemas.microsoft.com/office/powerpoint/2010/main" val="4046843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2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Cambria-Calibri">
      <a:majorFont>
        <a:latin typeface="Cambria" panose="02040503050406030204"/>
        <a:ea typeface=""/>
        <a:cs typeface=""/>
        <a:font script="Jpan" typeface="ＭＳ Ｐゴシック"/>
        <a:font script="Hang" typeface="맑은 고딕"/>
        <a:font script="Hans" typeface="黑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Theme2" id="{45A2DD99-F5B8-434C-AA5E-EEA9DE492D43}" vid="{8B60CF60-0B5B-4907-AAAC-D4A871574E1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العرض الفني -وزارة الصناعة والثروة المعدنية</Template>
  <TotalTime>2016</TotalTime>
  <Words>1311</Words>
  <Application>Microsoft Office PowerPoint</Application>
  <PresentationFormat>Widescreen</PresentationFormat>
  <Paragraphs>155</Paragraphs>
  <Slides>14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8" baseType="lpstr">
      <vt:lpstr>-apple-system</vt:lpstr>
      <vt:lpstr>Arial</vt:lpstr>
      <vt:lpstr>Calibri</vt:lpstr>
      <vt:lpstr>Cambria</vt:lpstr>
      <vt:lpstr>El Messiri</vt:lpstr>
      <vt:lpstr>El Messiri Medium</vt:lpstr>
      <vt:lpstr>Frutiger LT Arabic 45 Light</vt:lpstr>
      <vt:lpstr>Frutiger LT Arabic 55 Roman</vt:lpstr>
      <vt:lpstr>Roboto Condensed Light</vt:lpstr>
      <vt:lpstr>Tw Cen MT</vt:lpstr>
      <vt:lpstr>Verdana</vt:lpstr>
      <vt:lpstr>Wingdings</vt:lpstr>
      <vt:lpstr>Theme2</vt:lpstr>
      <vt:lpstr>think-cell Slide</vt:lpstr>
      <vt:lpstr>Technical Proposal for NOZOM Services</vt:lpstr>
      <vt:lpstr>Auditing Approach</vt:lpstr>
      <vt:lpstr>NOZOM’s Auditing Service Types</vt:lpstr>
      <vt:lpstr>NOZOM’s Auditing Service Types</vt:lpstr>
      <vt:lpstr>NOZOM’s Auditing Service Types</vt:lpstr>
      <vt:lpstr>NOZOM’s Auditing Service Types</vt:lpstr>
      <vt:lpstr>NOZOM’s Auditing Service Types</vt:lpstr>
      <vt:lpstr>NOZOM’s Auditing Service Types</vt:lpstr>
      <vt:lpstr>NOZOM’s Auditing Service Types</vt:lpstr>
      <vt:lpstr>NOZOM’s Auditing Service Types</vt:lpstr>
      <vt:lpstr>NOZOM’s Auditing Service Types</vt:lpstr>
      <vt:lpstr>NOZOM’s Auditing Methodologies Differentiation</vt:lpstr>
      <vt:lpstr>Stratgic Roadmap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chnical Proposal for NOZOM Services</dc:title>
  <dc:creator>Ahmed Imam</dc:creator>
  <cp:lastModifiedBy>Wael Almairh</cp:lastModifiedBy>
  <cp:revision>7</cp:revision>
  <dcterms:created xsi:type="dcterms:W3CDTF">2023-12-03T10:42:16Z</dcterms:created>
  <dcterms:modified xsi:type="dcterms:W3CDTF">2023-12-14T09:47:31Z</dcterms:modified>
</cp:coreProperties>
</file>